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11"/>
  </p:notesMasterIdLst>
  <p:handoutMasterIdLst>
    <p:handoutMasterId r:id="rId12"/>
  </p:handoutMasterIdLst>
  <p:sldIdLst>
    <p:sldId id="256" r:id="rId5"/>
    <p:sldId id="2548" r:id="rId6"/>
    <p:sldId id="2549" r:id="rId7"/>
    <p:sldId id="2528" r:id="rId8"/>
    <p:sldId id="2547" r:id="rId9"/>
    <p:sldId id="2550" r:id="rId10"/>
  </p:sldIdLst>
  <p:sldSz cx="9144000" cy="6858000" type="screen4x3"/>
  <p:notesSz cx="6797675" cy="9926638"/>
  <p:custDataLst>
    <p:tags r:id="rId13"/>
  </p:custDataLst>
  <p:defaultTextStyle>
    <a:defPPr>
      <a:defRPr lang="en-US"/>
    </a:defPPr>
    <a:lvl1pPr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1pPr>
    <a:lvl2pPr marL="466481"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2pPr>
    <a:lvl3pPr marL="932962"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3pPr>
    <a:lvl4pPr marL="1399443"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4pPr>
    <a:lvl5pPr marL="1865925"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5pPr>
    <a:lvl6pPr marL="2332406" algn="l" defTabSz="932962" rtl="0" eaLnBrk="1" latinLnBrk="0" hangingPunct="1">
      <a:defRPr sz="1428" i="1" kern="1200">
        <a:solidFill>
          <a:schemeClr val="tx1"/>
        </a:solidFill>
        <a:latin typeface="Arial" pitchFamily="34" charset="0"/>
        <a:ea typeface="+mn-ea"/>
        <a:cs typeface="+mn-cs"/>
      </a:defRPr>
    </a:lvl6pPr>
    <a:lvl7pPr marL="2798887" algn="l" defTabSz="932962" rtl="0" eaLnBrk="1" latinLnBrk="0" hangingPunct="1">
      <a:defRPr sz="1428" i="1" kern="1200">
        <a:solidFill>
          <a:schemeClr val="tx1"/>
        </a:solidFill>
        <a:latin typeface="Arial" pitchFamily="34" charset="0"/>
        <a:ea typeface="+mn-ea"/>
        <a:cs typeface="+mn-cs"/>
      </a:defRPr>
    </a:lvl7pPr>
    <a:lvl8pPr marL="3265368" algn="l" defTabSz="932962" rtl="0" eaLnBrk="1" latinLnBrk="0" hangingPunct="1">
      <a:defRPr sz="1428" i="1" kern="1200">
        <a:solidFill>
          <a:schemeClr val="tx1"/>
        </a:solidFill>
        <a:latin typeface="Arial" pitchFamily="34" charset="0"/>
        <a:ea typeface="+mn-ea"/>
        <a:cs typeface="+mn-cs"/>
      </a:defRPr>
    </a:lvl8pPr>
    <a:lvl9pPr marL="3731849" algn="l" defTabSz="932962" rtl="0" eaLnBrk="1" latinLnBrk="0" hangingPunct="1">
      <a:defRPr sz="1428" i="1"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3952" userDrawn="1">
          <p15:clr>
            <a:srgbClr val="A4A3A4"/>
          </p15:clr>
        </p15:guide>
        <p15:guide id="2" pos="5443" userDrawn="1">
          <p15:clr>
            <a:srgbClr val="A4A3A4"/>
          </p15:clr>
        </p15:guide>
      </p15:sldGuideLst>
    </p:ext>
    <p:ext uri="{2D200454-40CA-4A62-9FC3-DE9A4176ACB9}">
      <p15:notesGuideLst xmlns:p15="http://schemas.microsoft.com/office/powerpoint/2012/main">
        <p15:guide id="1" orient="horz" pos="3120">
          <p15:clr>
            <a:srgbClr val="A4A3A4"/>
          </p15:clr>
        </p15:guide>
        <p15:guide id="2" pos="2098">
          <p15:clr>
            <a:srgbClr val="A4A3A4"/>
          </p15:clr>
        </p15:guide>
        <p15:guide id="3" orient="horz" pos="3127">
          <p15:clr>
            <a:srgbClr val="A4A3A4"/>
          </p15:clr>
        </p15:guide>
        <p15:guide id="4"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SC"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F24F00"/>
    <a:srgbClr val="C8C8C8"/>
    <a:srgbClr val="E6E6E6"/>
    <a:srgbClr val="606060"/>
    <a:srgbClr val="F24800"/>
    <a:srgbClr val="FFCC66"/>
    <a:srgbClr val="FF9933"/>
    <a:srgbClr val="FF9966"/>
    <a:srgbClr val="99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3839E8-4841-4017-B5B0-B3D6C9DC1045}" v="9" dt="2021-02-14T16:25:53.7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1388" autoAdjust="0"/>
  </p:normalViewPr>
  <p:slideViewPr>
    <p:cSldViewPr snapToGrid="0">
      <p:cViewPr varScale="1">
        <p:scale>
          <a:sx n="82" d="100"/>
          <a:sy n="82" d="100"/>
        </p:scale>
        <p:origin x="1430" y="72"/>
      </p:cViewPr>
      <p:guideLst>
        <p:guide orient="horz" pos="3952"/>
        <p:guide pos="544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60" d="100"/>
        <a:sy n="160" d="100"/>
      </p:scale>
      <p:origin x="0" y="0"/>
    </p:cViewPr>
  </p:sorterViewPr>
  <p:notesViewPr>
    <p:cSldViewPr snapToGrid="0">
      <p:cViewPr>
        <p:scale>
          <a:sx n="75" d="100"/>
          <a:sy n="75" d="100"/>
        </p:scale>
        <p:origin x="2478" y="144"/>
      </p:cViewPr>
      <p:guideLst>
        <p:guide orient="horz" pos="3120"/>
        <p:guide pos="2098"/>
        <p:guide orient="horz" pos="3127"/>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dlička Michal" userId="d898d06c-ee19-4f47-bfc3-56487d2f145a" providerId="ADAL" clId="{7D3839E8-4841-4017-B5B0-B3D6C9DC1045}"/>
    <pc:docChg chg="custSel addSld modSld sldOrd">
      <pc:chgData name="Jedlička Michal" userId="d898d06c-ee19-4f47-bfc3-56487d2f145a" providerId="ADAL" clId="{7D3839E8-4841-4017-B5B0-B3D6C9DC1045}" dt="2021-02-14T16:34:39.739" v="1125" actId="1076"/>
      <pc:docMkLst>
        <pc:docMk/>
      </pc:docMkLst>
      <pc:sldChg chg="modSp add ord">
        <pc:chgData name="Jedlička Michal" userId="d898d06c-ee19-4f47-bfc3-56487d2f145a" providerId="ADAL" clId="{7D3839E8-4841-4017-B5B0-B3D6C9DC1045}" dt="2021-02-14T16:24:58.947" v="526" actId="114"/>
        <pc:sldMkLst>
          <pc:docMk/>
          <pc:sldMk cId="3982637554" sldId="256"/>
        </pc:sldMkLst>
        <pc:spChg chg="mod">
          <ac:chgData name="Jedlička Michal" userId="d898d06c-ee19-4f47-bfc3-56487d2f145a" providerId="ADAL" clId="{7D3839E8-4841-4017-B5B0-B3D6C9DC1045}" dt="2021-02-14T16:24:58.947" v="526" actId="114"/>
          <ac:spMkLst>
            <pc:docMk/>
            <pc:sldMk cId="3982637554" sldId="256"/>
            <ac:spMk id="2" creationId="{00000000-0000-0000-0000-000000000000}"/>
          </ac:spMkLst>
        </pc:spChg>
        <pc:spChg chg="mod">
          <ac:chgData name="Jedlička Michal" userId="d898d06c-ee19-4f47-bfc3-56487d2f145a" providerId="ADAL" clId="{7D3839E8-4841-4017-B5B0-B3D6C9DC1045}" dt="2021-02-14T16:21:34.110" v="309" actId="20577"/>
          <ac:spMkLst>
            <pc:docMk/>
            <pc:sldMk cId="3982637554" sldId="256"/>
            <ac:spMk id="3" creationId="{00000000-0000-0000-0000-000000000000}"/>
          </ac:spMkLst>
        </pc:spChg>
        <pc:spChg chg="mod">
          <ac:chgData name="Jedlička Michal" userId="d898d06c-ee19-4f47-bfc3-56487d2f145a" providerId="ADAL" clId="{7D3839E8-4841-4017-B5B0-B3D6C9DC1045}" dt="2021-02-14T16:22:32.250" v="356" actId="14100"/>
          <ac:spMkLst>
            <pc:docMk/>
            <pc:sldMk cId="3982637554" sldId="256"/>
            <ac:spMk id="4" creationId="{00000000-0000-0000-0000-000000000000}"/>
          </ac:spMkLst>
        </pc:spChg>
      </pc:sldChg>
      <pc:sldChg chg="modSp">
        <pc:chgData name="Jedlička Michal" userId="d898d06c-ee19-4f47-bfc3-56487d2f145a" providerId="ADAL" clId="{7D3839E8-4841-4017-B5B0-B3D6C9DC1045}" dt="2021-02-14T16:25:38.978" v="529" actId="1076"/>
        <pc:sldMkLst>
          <pc:docMk/>
          <pc:sldMk cId="2623764034" sldId="2547"/>
        </pc:sldMkLst>
        <pc:spChg chg="mod">
          <ac:chgData name="Jedlička Michal" userId="d898d06c-ee19-4f47-bfc3-56487d2f145a" providerId="ADAL" clId="{7D3839E8-4841-4017-B5B0-B3D6C9DC1045}" dt="2021-02-14T16:25:38.978" v="529" actId="1076"/>
          <ac:spMkLst>
            <pc:docMk/>
            <pc:sldMk cId="2623764034" sldId="2547"/>
            <ac:spMk id="37" creationId="{3FFBFF6B-4C0E-43E2-9EBB-F52EC6A2FB4D}"/>
          </ac:spMkLst>
        </pc:spChg>
        <pc:spChg chg="mod">
          <ac:chgData name="Jedlička Michal" userId="d898d06c-ee19-4f47-bfc3-56487d2f145a" providerId="ADAL" clId="{7D3839E8-4841-4017-B5B0-B3D6C9DC1045}" dt="2021-02-14T16:25:35.570" v="528" actId="1076"/>
          <ac:spMkLst>
            <pc:docMk/>
            <pc:sldMk cId="2623764034" sldId="2547"/>
            <ac:spMk id="38" creationId="{410AACC9-57FB-438A-A64C-2919085ECA37}"/>
          </ac:spMkLst>
        </pc:spChg>
      </pc:sldChg>
      <pc:sldChg chg="addSp delSp modSp">
        <pc:chgData name="Jedlička Michal" userId="d898d06c-ee19-4f47-bfc3-56487d2f145a" providerId="ADAL" clId="{7D3839E8-4841-4017-B5B0-B3D6C9DC1045}" dt="2021-02-14T16:34:39.739" v="1125" actId="1076"/>
        <pc:sldMkLst>
          <pc:docMk/>
          <pc:sldMk cId="3306053339" sldId="2550"/>
        </pc:sldMkLst>
        <pc:spChg chg="mod">
          <ac:chgData name="Jedlička Michal" userId="d898d06c-ee19-4f47-bfc3-56487d2f145a" providerId="ADAL" clId="{7D3839E8-4841-4017-B5B0-B3D6C9DC1045}" dt="2021-02-14T14:29:16.953" v="167" actId="20577"/>
          <ac:spMkLst>
            <pc:docMk/>
            <pc:sldMk cId="3306053339" sldId="2550"/>
            <ac:spMk id="10" creationId="{6988CF40-A6F7-495F-AD30-DAA71B5A9CE3}"/>
          </ac:spMkLst>
        </pc:spChg>
        <pc:spChg chg="mod">
          <ac:chgData name="Jedlička Michal" userId="d898d06c-ee19-4f47-bfc3-56487d2f145a" providerId="ADAL" clId="{7D3839E8-4841-4017-B5B0-B3D6C9DC1045}" dt="2021-02-14T14:30:08.991" v="203" actId="20577"/>
          <ac:spMkLst>
            <pc:docMk/>
            <pc:sldMk cId="3306053339" sldId="2550"/>
            <ac:spMk id="11" creationId="{E8CBD582-915A-4E8F-8974-6C8FCC43754C}"/>
          </ac:spMkLst>
        </pc:spChg>
        <pc:spChg chg="mod">
          <ac:chgData name="Jedlička Michal" userId="d898d06c-ee19-4f47-bfc3-56487d2f145a" providerId="ADAL" clId="{7D3839E8-4841-4017-B5B0-B3D6C9DC1045}" dt="2021-02-14T16:17:37.171" v="295" actId="20577"/>
          <ac:spMkLst>
            <pc:docMk/>
            <pc:sldMk cId="3306053339" sldId="2550"/>
            <ac:spMk id="20" creationId="{5B5D013B-54C3-4A69-BF52-885BF86FE092}"/>
          </ac:spMkLst>
        </pc:spChg>
        <pc:spChg chg="add mod">
          <ac:chgData name="Jedlička Michal" userId="d898d06c-ee19-4f47-bfc3-56487d2f145a" providerId="ADAL" clId="{7D3839E8-4841-4017-B5B0-B3D6C9DC1045}" dt="2021-02-14T16:25:52.042" v="530" actId="1076"/>
          <ac:spMkLst>
            <pc:docMk/>
            <pc:sldMk cId="3306053339" sldId="2550"/>
            <ac:spMk id="21" creationId="{23E4CC63-2DC1-4368-8A1A-61EB16D25D44}"/>
          </ac:spMkLst>
        </pc:spChg>
        <pc:spChg chg="add del">
          <ac:chgData name="Jedlička Michal" userId="d898d06c-ee19-4f47-bfc3-56487d2f145a" providerId="ADAL" clId="{7D3839E8-4841-4017-B5B0-B3D6C9DC1045}" dt="2021-02-14T16:16:45.222" v="210"/>
          <ac:spMkLst>
            <pc:docMk/>
            <pc:sldMk cId="3306053339" sldId="2550"/>
            <ac:spMk id="22" creationId="{436D8DE5-26D6-4848-A862-CE02C58D7BA9}"/>
          </ac:spMkLst>
        </pc:spChg>
        <pc:spChg chg="add mod">
          <ac:chgData name="Jedlička Michal" userId="d898d06c-ee19-4f47-bfc3-56487d2f145a" providerId="ADAL" clId="{7D3839E8-4841-4017-B5B0-B3D6C9DC1045}" dt="2021-02-14T16:34:39.739" v="1125" actId="1076"/>
          <ac:spMkLst>
            <pc:docMk/>
            <pc:sldMk cId="3306053339" sldId="2550"/>
            <ac:spMk id="23" creationId="{789AFEF8-34D9-4178-A118-E45E28755BE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338597298712845E-2"/>
          <c:y val="3.9193176066856766E-2"/>
          <c:w val="0.9866614027012871"/>
          <c:h val="0.82444580868814021"/>
        </c:manualLayout>
      </c:layout>
      <c:barChart>
        <c:barDir val="col"/>
        <c:grouping val="clustered"/>
        <c:varyColors val="0"/>
        <c:ser>
          <c:idx val="1"/>
          <c:order val="0"/>
          <c:tx>
            <c:strRef>
              <c:f>List1!$M$13</c:f>
              <c:strCache>
                <c:ptCount val="1"/>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L$14:$L$17</c:f>
              <c:strCache>
                <c:ptCount val="4"/>
                <c:pt idx="0">
                  <c:v>CZ</c:v>
                </c:pt>
                <c:pt idx="1">
                  <c:v>HU</c:v>
                </c:pt>
                <c:pt idx="2">
                  <c:v>PL</c:v>
                </c:pt>
                <c:pt idx="3">
                  <c:v>SK</c:v>
                </c:pt>
              </c:strCache>
            </c:strRef>
          </c:cat>
          <c:val>
            <c:numRef>
              <c:f>List1!$M$14:$M$17</c:f>
              <c:numCache>
                <c:formatCode>0.00%</c:formatCode>
                <c:ptCount val="4"/>
                <c:pt idx="0">
                  <c:v>0.16900000000000001</c:v>
                </c:pt>
                <c:pt idx="1">
                  <c:v>0.21299999999999999</c:v>
                </c:pt>
                <c:pt idx="2">
                  <c:v>0.318</c:v>
                </c:pt>
                <c:pt idx="3">
                  <c:v>0.27300000000000002</c:v>
                </c:pt>
              </c:numCache>
            </c:numRef>
          </c:val>
          <c:extLst>
            <c:ext xmlns:c16="http://schemas.microsoft.com/office/drawing/2014/chart" uri="{C3380CC4-5D6E-409C-BE32-E72D297353CC}">
              <c16:uniqueId val="{00000001-4B91-473F-8569-3A6A4C96B8E8}"/>
            </c:ext>
          </c:extLst>
        </c:ser>
        <c:dLbls>
          <c:showLegendKey val="0"/>
          <c:showVal val="0"/>
          <c:showCatName val="0"/>
          <c:showSerName val="0"/>
          <c:showPercent val="0"/>
          <c:showBubbleSize val="0"/>
        </c:dLbls>
        <c:gapWidth val="145"/>
        <c:axId val="143633024"/>
        <c:axId val="143946112"/>
      </c:barChart>
      <c:catAx>
        <c:axId val="14363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cs-CZ"/>
          </a:p>
        </c:txPr>
        <c:crossAx val="143946112"/>
        <c:crosses val="autoZero"/>
        <c:auto val="1"/>
        <c:lblAlgn val="ctr"/>
        <c:lblOffset val="100"/>
        <c:noMultiLvlLbl val="0"/>
      </c:catAx>
      <c:valAx>
        <c:axId val="143946112"/>
        <c:scaling>
          <c:orientation val="minMax"/>
        </c:scaling>
        <c:delete val="1"/>
        <c:axPos val="l"/>
        <c:numFmt formatCode="0.00%" sourceLinked="1"/>
        <c:majorTickMark val="none"/>
        <c:minorTickMark val="none"/>
        <c:tickLblPos val="nextTo"/>
        <c:crossAx val="143633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966008025604565"/>
          <c:y val="2.8790731568985643E-2"/>
          <c:w val="0.77342607468023672"/>
          <c:h val="0.89290115772951795"/>
        </c:manualLayout>
      </c:layout>
      <c:barChart>
        <c:barDir val="bar"/>
        <c:grouping val="clustered"/>
        <c:varyColors val="0"/>
        <c:ser>
          <c:idx val="0"/>
          <c:order val="0"/>
          <c:tx>
            <c:strRef>
              <c:f>List1!$I$43</c:f>
              <c:strCache>
                <c:ptCount val="1"/>
                <c:pt idx="0">
                  <c:v>Výroba 2019</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H$44:$H$47</c:f>
              <c:strCache>
                <c:ptCount val="4"/>
                <c:pt idx="0">
                  <c:v>Voda</c:v>
                </c:pt>
                <c:pt idx="1">
                  <c:v>Geotermál</c:v>
                </c:pt>
                <c:pt idx="2">
                  <c:v>Vítr</c:v>
                </c:pt>
                <c:pt idx="3">
                  <c:v>PV</c:v>
                </c:pt>
              </c:strCache>
            </c:strRef>
          </c:cat>
          <c:val>
            <c:numRef>
              <c:f>List1!$I$44:$I$47</c:f>
              <c:numCache>
                <c:formatCode>0.0</c:formatCode>
                <c:ptCount val="4"/>
                <c:pt idx="0">
                  <c:v>2.008</c:v>
                </c:pt>
                <c:pt idx="1">
                  <c:v>0</c:v>
                </c:pt>
                <c:pt idx="2">
                  <c:v>0.7</c:v>
                </c:pt>
                <c:pt idx="3">
                  <c:v>2.2858999999999998</c:v>
                </c:pt>
              </c:numCache>
            </c:numRef>
          </c:val>
          <c:extLst>
            <c:ext xmlns:c16="http://schemas.microsoft.com/office/drawing/2014/chart" uri="{C3380CC4-5D6E-409C-BE32-E72D297353CC}">
              <c16:uniqueId val="{00000000-78F9-4FAA-A261-31F1F0A79359}"/>
            </c:ext>
          </c:extLst>
        </c:ser>
        <c:ser>
          <c:idx val="1"/>
          <c:order val="1"/>
          <c:tx>
            <c:strRef>
              <c:f>List1!$J$43</c:f>
              <c:strCache>
                <c:ptCount val="1"/>
                <c:pt idx="0">
                  <c:v>Potenciá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H$44:$H$47</c:f>
              <c:strCache>
                <c:ptCount val="4"/>
                <c:pt idx="0">
                  <c:v>Voda</c:v>
                </c:pt>
                <c:pt idx="1">
                  <c:v>Geotermál</c:v>
                </c:pt>
                <c:pt idx="2">
                  <c:v>Vítr</c:v>
                </c:pt>
                <c:pt idx="3">
                  <c:v>PV</c:v>
                </c:pt>
              </c:strCache>
            </c:strRef>
          </c:cat>
          <c:val>
            <c:numRef>
              <c:f>List1!$J$44:$J$47</c:f>
              <c:numCache>
                <c:formatCode>#,##0.0</c:formatCode>
                <c:ptCount val="4"/>
                <c:pt idx="0">
                  <c:v>2.5350000000000001</c:v>
                </c:pt>
                <c:pt idx="1">
                  <c:v>3.5</c:v>
                </c:pt>
                <c:pt idx="2">
                  <c:v>6.2270000000000003</c:v>
                </c:pt>
                <c:pt idx="3">
                  <c:v>28.354018521393229</c:v>
                </c:pt>
              </c:numCache>
            </c:numRef>
          </c:val>
          <c:extLst>
            <c:ext xmlns:c16="http://schemas.microsoft.com/office/drawing/2014/chart" uri="{C3380CC4-5D6E-409C-BE32-E72D297353CC}">
              <c16:uniqueId val="{00000001-78F9-4FAA-A261-31F1F0A79359}"/>
            </c:ext>
          </c:extLst>
        </c:ser>
        <c:dLbls>
          <c:showLegendKey val="0"/>
          <c:showVal val="0"/>
          <c:showCatName val="0"/>
          <c:showSerName val="0"/>
          <c:showPercent val="0"/>
          <c:showBubbleSize val="0"/>
        </c:dLbls>
        <c:gapWidth val="60"/>
        <c:axId val="844037896"/>
        <c:axId val="844038880"/>
      </c:barChart>
      <c:catAx>
        <c:axId val="844037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crossAx val="844038880"/>
        <c:crosses val="autoZero"/>
        <c:auto val="1"/>
        <c:lblAlgn val="ctr"/>
        <c:lblOffset val="100"/>
        <c:noMultiLvlLbl val="0"/>
      </c:catAx>
      <c:valAx>
        <c:axId val="844038880"/>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844037896"/>
        <c:crosses val="autoZero"/>
        <c:crossBetween val="between"/>
      </c:valAx>
      <c:spPr>
        <a:noFill/>
        <a:ln>
          <a:noFill/>
        </a:ln>
        <a:effectLst/>
      </c:spPr>
    </c:plotArea>
    <c:legend>
      <c:legendPos val="b"/>
      <c:layout>
        <c:manualLayout>
          <c:xMode val="edge"/>
          <c:yMode val="edge"/>
          <c:x val="0.49042747547170029"/>
          <c:y val="0.84840639075926749"/>
          <c:w val="0.46444665654716366"/>
          <c:h val="5.9986736066687328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2946145" cy="496332"/>
          </a:xfrm>
          <a:prstGeom prst="rect">
            <a:avLst/>
          </a:prstGeom>
          <a:noFill/>
          <a:ln w="9525">
            <a:noFill/>
            <a:miter lim="800000"/>
            <a:headEnd/>
            <a:tailEnd/>
          </a:ln>
          <a:effectLst/>
        </p:spPr>
        <p:txBody>
          <a:bodyPr vert="horz" wrap="square" lIns="91828" tIns="45915" rIns="91828" bIns="45915" numCol="1" anchor="t" anchorCtr="0" compatLnSpc="1">
            <a:prstTxWarp prst="textNoShape">
              <a:avLst/>
            </a:prstTxWarp>
          </a:bodyPr>
          <a:lstStyle>
            <a:lvl1pPr algn="l" defTabSz="919699" eaLnBrk="1" hangingPunct="1">
              <a:spcBef>
                <a:spcPct val="0"/>
              </a:spcBef>
              <a:buClrTx/>
              <a:buFontTx/>
              <a:buNone/>
              <a:defRPr sz="1200" i="0">
                <a:latin typeface="Times New Roman" pitchFamily="18" charset="0"/>
              </a:defRPr>
            </a:lvl1pPr>
          </a:lstStyle>
          <a:p>
            <a:endParaRPr lang="en-US"/>
          </a:p>
        </p:txBody>
      </p:sp>
      <p:sp>
        <p:nvSpPr>
          <p:cNvPr id="7171" name="Rectangle 3"/>
          <p:cNvSpPr>
            <a:spLocks noGrp="1" noChangeArrowheads="1"/>
          </p:cNvSpPr>
          <p:nvPr>
            <p:ph type="dt" sz="quarter" idx="1"/>
          </p:nvPr>
        </p:nvSpPr>
        <p:spPr bwMode="auto">
          <a:xfrm>
            <a:off x="3851530" y="0"/>
            <a:ext cx="2946145" cy="496332"/>
          </a:xfrm>
          <a:prstGeom prst="rect">
            <a:avLst/>
          </a:prstGeom>
          <a:noFill/>
          <a:ln w="9525">
            <a:noFill/>
            <a:miter lim="800000"/>
            <a:headEnd/>
            <a:tailEnd/>
          </a:ln>
          <a:effectLst/>
        </p:spPr>
        <p:txBody>
          <a:bodyPr vert="horz" wrap="square" lIns="91828" tIns="45915" rIns="91828" bIns="45915" numCol="1" anchor="t" anchorCtr="0" compatLnSpc="1">
            <a:prstTxWarp prst="textNoShape">
              <a:avLst/>
            </a:prstTxWarp>
          </a:bodyPr>
          <a:lstStyle>
            <a:lvl1pPr algn="r" defTabSz="919699" eaLnBrk="1" hangingPunct="1">
              <a:spcBef>
                <a:spcPct val="0"/>
              </a:spcBef>
              <a:buClrTx/>
              <a:buFontTx/>
              <a:buNone/>
              <a:defRPr sz="1200" i="0">
                <a:latin typeface="Times New Roman" pitchFamily="18" charset="0"/>
              </a:defRPr>
            </a:lvl1pPr>
          </a:lstStyle>
          <a:p>
            <a:fld id="{457EA0C0-5B0D-4D8E-8448-29C33B29C874}" type="datetime1">
              <a:rPr lang="en-US"/>
              <a:pPr/>
              <a:t>2/12/2021</a:t>
            </a:fld>
            <a:endParaRPr lang="en-US"/>
          </a:p>
        </p:txBody>
      </p:sp>
      <p:sp>
        <p:nvSpPr>
          <p:cNvPr id="7172" name="Rectangle 4"/>
          <p:cNvSpPr>
            <a:spLocks noGrp="1" noChangeArrowheads="1"/>
          </p:cNvSpPr>
          <p:nvPr>
            <p:ph type="ftr" sz="quarter" idx="2"/>
          </p:nvPr>
        </p:nvSpPr>
        <p:spPr bwMode="auto">
          <a:xfrm>
            <a:off x="1" y="9430306"/>
            <a:ext cx="2946145" cy="496332"/>
          </a:xfrm>
          <a:prstGeom prst="rect">
            <a:avLst/>
          </a:prstGeom>
          <a:noFill/>
          <a:ln w="9525">
            <a:noFill/>
            <a:miter lim="800000"/>
            <a:headEnd/>
            <a:tailEnd/>
          </a:ln>
          <a:effectLst/>
        </p:spPr>
        <p:txBody>
          <a:bodyPr vert="horz" wrap="square" lIns="91828" tIns="45915" rIns="91828" bIns="45915" numCol="1" anchor="b" anchorCtr="0" compatLnSpc="1">
            <a:prstTxWarp prst="textNoShape">
              <a:avLst/>
            </a:prstTxWarp>
          </a:bodyPr>
          <a:lstStyle>
            <a:lvl1pPr algn="l" defTabSz="919699" eaLnBrk="1" hangingPunct="1">
              <a:spcBef>
                <a:spcPct val="0"/>
              </a:spcBef>
              <a:buClrTx/>
              <a:buFontTx/>
              <a:buNone/>
              <a:defRPr sz="1200" i="0">
                <a:latin typeface="Times New Roman" pitchFamily="18" charset="0"/>
              </a:defRPr>
            </a:lvl1pPr>
          </a:lstStyle>
          <a:p>
            <a:endParaRPr lang="en-US"/>
          </a:p>
        </p:txBody>
      </p:sp>
      <p:sp>
        <p:nvSpPr>
          <p:cNvPr id="7173" name="Rectangle 5"/>
          <p:cNvSpPr>
            <a:spLocks noGrp="1" noChangeArrowheads="1"/>
          </p:cNvSpPr>
          <p:nvPr>
            <p:ph type="sldNum" sz="quarter" idx="3"/>
          </p:nvPr>
        </p:nvSpPr>
        <p:spPr bwMode="auto">
          <a:xfrm>
            <a:off x="3851530" y="9430306"/>
            <a:ext cx="2946145" cy="496332"/>
          </a:xfrm>
          <a:prstGeom prst="rect">
            <a:avLst/>
          </a:prstGeom>
          <a:noFill/>
          <a:ln w="9525">
            <a:noFill/>
            <a:miter lim="800000"/>
            <a:headEnd/>
            <a:tailEnd/>
          </a:ln>
          <a:effectLst/>
        </p:spPr>
        <p:txBody>
          <a:bodyPr vert="horz" wrap="square" lIns="91828" tIns="45915" rIns="91828" bIns="45915" numCol="1" anchor="b" anchorCtr="0" compatLnSpc="1">
            <a:prstTxWarp prst="textNoShape">
              <a:avLst/>
            </a:prstTxWarp>
          </a:bodyPr>
          <a:lstStyle>
            <a:lvl1pPr algn="r" defTabSz="919699" eaLnBrk="1" hangingPunct="1">
              <a:spcBef>
                <a:spcPct val="0"/>
              </a:spcBef>
              <a:buClrTx/>
              <a:buFontTx/>
              <a:buNone/>
              <a:defRPr sz="1200" i="0">
                <a:latin typeface="Times New Roman" pitchFamily="18" charset="0"/>
              </a:defRPr>
            </a:lvl1pPr>
          </a:lstStyle>
          <a:p>
            <a:fld id="{93680765-A157-41AD-8F94-E152B15695BF}" type="slidenum">
              <a:rPr lang="en-US"/>
              <a:pPr/>
              <a:t>‹#›</a:t>
            </a:fld>
            <a:endParaRPr lang="en-US"/>
          </a:p>
        </p:txBody>
      </p:sp>
    </p:spTree>
    <p:extLst>
      <p:ext uri="{BB962C8B-B14F-4D97-AF65-F5344CB8AC3E}">
        <p14:creationId xmlns:p14="http://schemas.microsoft.com/office/powerpoint/2010/main" val="40471619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4" name="Rectangle 4"/>
          <p:cNvSpPr>
            <a:spLocks noGrp="1" noRot="1" noChangeAspect="1" noChangeArrowheads="1" noTextEdit="1"/>
          </p:cNvSpPr>
          <p:nvPr>
            <p:ph type="sldImg" idx="2"/>
          </p:nvPr>
        </p:nvSpPr>
        <p:spPr bwMode="auto">
          <a:xfrm>
            <a:off x="617538" y="487363"/>
            <a:ext cx="5626100" cy="4219575"/>
          </a:xfrm>
          <a:prstGeom prst="rect">
            <a:avLst/>
          </a:prstGeom>
          <a:noFill/>
          <a:ln w="9525">
            <a:noFill/>
            <a:miter lim="800000"/>
            <a:headEnd/>
            <a:tailEnd/>
          </a:ln>
          <a:effectLst/>
        </p:spPr>
      </p:sp>
      <p:sp>
        <p:nvSpPr>
          <p:cNvPr id="5125" name="Rectangle 5"/>
          <p:cNvSpPr>
            <a:spLocks noGrp="1" noChangeArrowheads="1"/>
          </p:cNvSpPr>
          <p:nvPr>
            <p:ph type="body" sz="quarter" idx="3"/>
          </p:nvPr>
        </p:nvSpPr>
        <p:spPr bwMode="auto">
          <a:xfrm>
            <a:off x="565628" y="5591625"/>
            <a:ext cx="5729738" cy="3427125"/>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cs-CZ" dirty="0"/>
              <a:t>Click to edit Master text styles</a:t>
            </a:r>
          </a:p>
        </p:txBody>
      </p:sp>
      <p:sp>
        <p:nvSpPr>
          <p:cNvPr id="5127" name="pg num"/>
          <p:cNvSpPr>
            <a:spLocks noGrp="1" noChangeArrowheads="1"/>
          </p:cNvSpPr>
          <p:nvPr>
            <p:ph type="sldNum" sz="quarter" idx="5"/>
          </p:nvPr>
        </p:nvSpPr>
        <p:spPr bwMode="auto">
          <a:xfrm>
            <a:off x="6033200" y="9548027"/>
            <a:ext cx="542583" cy="18294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19699" eaLnBrk="1" hangingPunct="1">
              <a:spcBef>
                <a:spcPct val="0"/>
              </a:spcBef>
              <a:buClrTx/>
              <a:buFontTx/>
              <a:buNone/>
              <a:defRPr sz="1200" i="0"/>
            </a:lvl1pPr>
          </a:lstStyle>
          <a:p>
            <a:fld id="{42689D1E-D6FA-469F-A168-9573E3DAE983}" type="slidenum">
              <a:rPr lang="cs-CZ"/>
              <a:pPr/>
              <a:t>‹#›</a:t>
            </a:fld>
            <a:endParaRPr lang="cs-CZ"/>
          </a:p>
        </p:txBody>
      </p:sp>
      <p:sp>
        <p:nvSpPr>
          <p:cNvPr id="5137" name="McK Separator" hidden="1"/>
          <p:cNvSpPr>
            <a:spLocks noChangeShapeType="1"/>
          </p:cNvSpPr>
          <p:nvPr/>
        </p:nvSpPr>
        <p:spPr bwMode="auto">
          <a:xfrm>
            <a:off x="814685" y="1509677"/>
            <a:ext cx="5199079" cy="0"/>
          </a:xfrm>
          <a:prstGeom prst="line">
            <a:avLst/>
          </a:prstGeom>
          <a:noFill/>
          <a:ln w="9525">
            <a:solidFill>
              <a:schemeClr val="tx1"/>
            </a:solidFill>
            <a:round/>
            <a:headEnd/>
            <a:tailEnd/>
          </a:ln>
          <a:effectLst/>
        </p:spPr>
        <p:txBody>
          <a:bodyPr lIns="92290" tIns="46145" rIns="92290" bIns="46145"/>
          <a:lstStyle/>
          <a:p>
            <a:endParaRPr lang="cs-CZ"/>
          </a:p>
        </p:txBody>
      </p:sp>
    </p:spTree>
    <p:extLst>
      <p:ext uri="{BB962C8B-B14F-4D97-AF65-F5344CB8AC3E}">
        <p14:creationId xmlns:p14="http://schemas.microsoft.com/office/powerpoint/2010/main" val="2929927327"/>
      </p:ext>
    </p:extLst>
  </p:cSld>
  <p:clrMap bg1="lt1" tx1="dk1" bg2="lt2" tx2="dk2" accent1="accent1" accent2="accent2" accent3="accent3" accent4="accent4" accent5="accent5" accent6="accent6" hlink="hlink" folHlink="folHlink"/>
  <p:hf hdr="0" dt="0"/>
  <p:notesStyle>
    <a:lvl1pPr algn="l" rtl="0" fontAlgn="base">
      <a:lnSpc>
        <a:spcPct val="90000"/>
      </a:lnSpc>
      <a:spcBef>
        <a:spcPct val="30000"/>
      </a:spcBef>
      <a:spcAft>
        <a:spcPct val="0"/>
      </a:spcAft>
      <a:defRPr sz="1632" b="1" kern="1200">
        <a:solidFill>
          <a:schemeClr val="tx1"/>
        </a:solidFill>
        <a:latin typeface="Arial" pitchFamily="34" charset="0"/>
        <a:ea typeface="+mn-ea"/>
        <a:cs typeface="+mn-cs"/>
      </a:defRPr>
    </a:lvl1pPr>
    <a:lvl2pPr marL="194367" algn="l" rtl="0" fontAlgn="base">
      <a:spcBef>
        <a:spcPct val="30000"/>
      </a:spcBef>
      <a:spcAft>
        <a:spcPct val="0"/>
      </a:spcAft>
      <a:defRPr sz="1224" kern="1200">
        <a:solidFill>
          <a:schemeClr val="tx1"/>
        </a:solidFill>
        <a:latin typeface="Times New Roman" pitchFamily="18" charset="0"/>
        <a:ea typeface="+mn-ea"/>
        <a:cs typeface="+mn-cs"/>
      </a:defRPr>
    </a:lvl2pPr>
    <a:lvl3pPr marL="388734" algn="l" rtl="0" fontAlgn="base">
      <a:spcBef>
        <a:spcPct val="30000"/>
      </a:spcBef>
      <a:spcAft>
        <a:spcPct val="0"/>
      </a:spcAft>
      <a:defRPr sz="1224" kern="1200">
        <a:solidFill>
          <a:schemeClr val="tx1"/>
        </a:solidFill>
        <a:latin typeface="Times New Roman" pitchFamily="18" charset="0"/>
        <a:ea typeface="+mn-ea"/>
        <a:cs typeface="+mn-cs"/>
      </a:defRPr>
    </a:lvl3pPr>
    <a:lvl4pPr marL="583101" algn="l" rtl="0" fontAlgn="base">
      <a:spcBef>
        <a:spcPct val="30000"/>
      </a:spcBef>
      <a:spcAft>
        <a:spcPct val="0"/>
      </a:spcAft>
      <a:defRPr sz="1224" kern="1200">
        <a:solidFill>
          <a:schemeClr val="tx1"/>
        </a:solidFill>
        <a:latin typeface="Times New Roman" pitchFamily="18" charset="0"/>
        <a:ea typeface="+mn-ea"/>
        <a:cs typeface="+mn-cs"/>
      </a:defRPr>
    </a:lvl4pPr>
    <a:lvl5pPr marL="777469" algn="l" rtl="0" fontAlgn="base">
      <a:spcBef>
        <a:spcPct val="30000"/>
      </a:spcBef>
      <a:spcAft>
        <a:spcPct val="0"/>
      </a:spcAft>
      <a:defRPr sz="1224" kern="1200">
        <a:solidFill>
          <a:schemeClr val="tx1"/>
        </a:solidFill>
        <a:latin typeface="Times New Roman" pitchFamily="18" charset="0"/>
        <a:ea typeface="+mn-ea"/>
        <a:cs typeface="+mn-cs"/>
      </a:defRPr>
    </a:lvl5pPr>
    <a:lvl6pPr marL="2332406" algn="l" defTabSz="932962" rtl="0" eaLnBrk="1" latinLnBrk="0" hangingPunct="1">
      <a:defRPr sz="1224" kern="1200">
        <a:solidFill>
          <a:schemeClr val="tx1"/>
        </a:solidFill>
        <a:latin typeface="+mn-lt"/>
        <a:ea typeface="+mn-ea"/>
        <a:cs typeface="+mn-cs"/>
      </a:defRPr>
    </a:lvl6pPr>
    <a:lvl7pPr marL="2798887" algn="l" defTabSz="932962" rtl="0" eaLnBrk="1" latinLnBrk="0" hangingPunct="1">
      <a:defRPr sz="1224" kern="1200">
        <a:solidFill>
          <a:schemeClr val="tx1"/>
        </a:solidFill>
        <a:latin typeface="+mn-lt"/>
        <a:ea typeface="+mn-ea"/>
        <a:cs typeface="+mn-cs"/>
      </a:defRPr>
    </a:lvl7pPr>
    <a:lvl8pPr marL="3265368" algn="l" defTabSz="932962" rtl="0" eaLnBrk="1" latinLnBrk="0" hangingPunct="1">
      <a:defRPr sz="1224" kern="1200">
        <a:solidFill>
          <a:schemeClr val="tx1"/>
        </a:solidFill>
        <a:latin typeface="+mn-lt"/>
        <a:ea typeface="+mn-ea"/>
        <a:cs typeface="+mn-cs"/>
      </a:defRPr>
    </a:lvl8pPr>
    <a:lvl9pPr marL="3731849" algn="l" defTabSz="932962"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42689D1E-D6FA-469F-A168-9573E3DAE983}" type="slidenum">
              <a:rPr lang="cs-CZ" smtClean="0"/>
              <a:pPr/>
              <a:t>0</a:t>
            </a:fld>
            <a:endParaRPr lang="cs-CZ"/>
          </a:p>
        </p:txBody>
      </p:sp>
    </p:spTree>
    <p:extLst>
      <p:ext uri="{BB962C8B-B14F-4D97-AF65-F5344CB8AC3E}">
        <p14:creationId xmlns:p14="http://schemas.microsoft.com/office/powerpoint/2010/main" val="2339508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Dekarbonizace už není jen evropská specialita: K roku 2050 chce být klimaneutrální např. Jižní Korea a Japonsko, na rok 2060 míří Čína.  Řada US států měla podobné cíle jako EU již za Trumpa, vývoj s Bidenem bude zcela jistě více pro-klima. Rovněž Putin nařídil své vládě připravit kroky ke splnění cílů Pařížské úmluvy</a:t>
            </a:r>
          </a:p>
          <a:p>
            <a:endParaRPr lang="cs-CZ" dirty="0"/>
          </a:p>
          <a:p>
            <a:pPr defTabSz="922904">
              <a:defRPr/>
            </a:pPr>
            <a:r>
              <a:rPr lang="cs-CZ" dirty="0"/>
              <a:t>Fotovoltaika, která v neblahém roce 2008 stávala 400 EUR/MWh, je dnes k mání za 50 EUR/MWh. Vítr stával kolem 80, dnes je kolem 60 EUR/MWh. Pro celkový obrázek: Offshore z cen mírně pod 200 EUR/MWh klesl dokonce až na nulovou dotaci, firmy se spokojí jen s vyvedením výkonu! </a:t>
            </a:r>
          </a:p>
          <a:p>
            <a:endParaRPr lang="cs-CZ" dirty="0"/>
          </a:p>
        </p:txBody>
      </p:sp>
      <p:sp>
        <p:nvSpPr>
          <p:cNvPr id="4" name="Zástupný symbol pro číslo snímku 3"/>
          <p:cNvSpPr>
            <a:spLocks noGrp="1"/>
          </p:cNvSpPr>
          <p:nvPr>
            <p:ph type="sldNum" sz="quarter" idx="5"/>
          </p:nvPr>
        </p:nvSpPr>
        <p:spPr/>
        <p:txBody>
          <a:bodyPr/>
          <a:lstStyle/>
          <a:p>
            <a:fld id="{2992F12D-1F35-4D4B-A4DC-BAAB558DBFEA}" type="slidenum">
              <a:rPr lang="cs-CZ" smtClean="0"/>
              <a:t>1</a:t>
            </a:fld>
            <a:endParaRPr lang="cs-CZ" dirty="0"/>
          </a:p>
        </p:txBody>
      </p:sp>
    </p:spTree>
    <p:extLst>
      <p:ext uri="{BB962C8B-B14F-4D97-AF65-F5344CB8AC3E}">
        <p14:creationId xmlns:p14="http://schemas.microsoft.com/office/powerpoint/2010/main" val="1152545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ČR ve výstavbě OZE v elektřině zaostává. </a:t>
            </a:r>
          </a:p>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Přitom se uvažuje o nesmyslných podmínkách a omezeních jako zákaz výstavby fotovoltaiky na výsypkách</a:t>
            </a:r>
          </a:p>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endParaRPr lang="cs-CZ" sz="1300" i="0" dirty="0">
              <a:solidFill>
                <a:srgbClr val="000000"/>
              </a:solidFill>
              <a:latin typeface="Arial" charset="0"/>
              <a:cs typeface="Arial" charset="0"/>
            </a:endParaRPr>
          </a:p>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Jsou i další oblasti, které by ČR měla posílit: </a:t>
            </a:r>
          </a:p>
          <a:p>
            <a:pPr marL="536575" lvl="2" indent="-180975"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Rozšířit existující plynové propojení západ-východ o směr sever-jih kvůli vyšší bezpečnosti</a:t>
            </a:r>
          </a:p>
          <a:p>
            <a:pPr marL="536575" lvl="2" indent="-180975"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Připravit legislativní podmínky na zajištění dostatečného výkonu už před rokem 2030 pro případ scénáře cen CO2 přes 80 EUR/t</a:t>
            </a:r>
            <a:endParaRPr kumimoji="0" lang="cs-CZ" sz="1300" b="0" i="0" u="none" strike="noStrike" kern="1200" cap="none" spc="0" normalizeH="0" baseline="0" noProof="0" dirty="0">
              <a:ln>
                <a:noFill/>
              </a:ln>
              <a:solidFill>
                <a:srgbClr val="000000"/>
              </a:solidFill>
              <a:effectLst/>
              <a:uLnTx/>
              <a:uFillTx/>
              <a:latin typeface="Arial" charset="0"/>
              <a:ea typeface="+mn-ea"/>
              <a:cs typeface="Arial" charset="0"/>
              <a:sym typeface="Symbol"/>
            </a:endParaRPr>
          </a:p>
          <a:p>
            <a:endParaRPr lang="cs-CZ" dirty="0"/>
          </a:p>
        </p:txBody>
      </p:sp>
      <p:sp>
        <p:nvSpPr>
          <p:cNvPr id="4" name="Zástupný symbol pro číslo snímku 3"/>
          <p:cNvSpPr>
            <a:spLocks noGrp="1"/>
          </p:cNvSpPr>
          <p:nvPr>
            <p:ph type="sldNum" sz="quarter" idx="5"/>
          </p:nvPr>
        </p:nvSpPr>
        <p:spPr/>
        <p:txBody>
          <a:bodyPr/>
          <a:lstStyle/>
          <a:p>
            <a:fld id="{2992F12D-1F35-4D4B-A4DC-BAAB558DBFEA}" type="slidenum">
              <a:rPr lang="cs-CZ" smtClean="0"/>
              <a:t>2</a:t>
            </a:fld>
            <a:endParaRPr lang="cs-CZ"/>
          </a:p>
        </p:txBody>
      </p:sp>
    </p:spTree>
    <p:extLst>
      <p:ext uri="{BB962C8B-B14F-4D97-AF65-F5344CB8AC3E}">
        <p14:creationId xmlns:p14="http://schemas.microsoft.com/office/powerpoint/2010/main" val="5119510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81" y="2183416"/>
            <a:ext cx="5130035" cy="4601696"/>
            <a:chOff x="1768" y="1348"/>
            <a:chExt cx="3167" cy="2841"/>
          </a:xfrm>
        </p:grpSpPr>
        <p:sp>
          <p:nvSpPr>
            <p:cNvPr id="13331" name="McK Confidential" hidden="1"/>
            <p:cNvSpPr txBox="1">
              <a:spLocks noChangeArrowheads="1"/>
            </p:cNvSpPr>
            <p:nvPr/>
          </p:nvSpPr>
          <p:spPr bwMode="auto">
            <a:xfrm>
              <a:off x="1768" y="1348"/>
              <a:ext cx="936" cy="136"/>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ŮVĚRNÉ</a:t>
              </a:r>
            </a:p>
          </p:txBody>
        </p:sp>
        <p:sp>
          <p:nvSpPr>
            <p:cNvPr id="13332" name="McK Document" hidden="1"/>
            <p:cNvSpPr txBox="1">
              <a:spLocks noChangeArrowheads="1"/>
            </p:cNvSpPr>
            <p:nvPr/>
          </p:nvSpPr>
          <p:spPr bwMode="auto">
            <a:xfrm>
              <a:off x="1768" y="3047"/>
              <a:ext cx="3167" cy="136"/>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sz="1428" i="0"/>
                <a:t>Dokument</a:t>
              </a:r>
            </a:p>
          </p:txBody>
        </p:sp>
        <p:sp>
          <p:nvSpPr>
            <p:cNvPr id="13333" name="McK Date" hidden="1"/>
            <p:cNvSpPr txBox="1">
              <a:spLocks noChangeArrowheads="1"/>
            </p:cNvSpPr>
            <p:nvPr/>
          </p:nvSpPr>
          <p:spPr bwMode="auto">
            <a:xfrm>
              <a:off x="1768" y="3216"/>
              <a:ext cx="3167" cy="136"/>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atum</a:t>
              </a:r>
            </a:p>
          </p:txBody>
        </p:sp>
        <p:sp>
          <p:nvSpPr>
            <p:cNvPr id="13334" name="McK Disclaimer" hidden="1"/>
            <p:cNvSpPr>
              <a:spLocks noChangeArrowheads="1"/>
            </p:cNvSpPr>
            <p:nvPr>
              <p:custDataLst>
                <p:tags r:id="rId1"/>
              </p:custDataLst>
            </p:nvPr>
          </p:nvSpPr>
          <p:spPr bwMode="auto">
            <a:xfrm>
              <a:off x="1768" y="3761"/>
              <a:ext cx="2303" cy="428"/>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6"/>
            <a:ext cx="3110094" cy="304699"/>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chemeClr val="bg1"/>
                </a:solidFill>
              </a:rPr>
              <a:t>Working Draft    </a:t>
            </a:r>
          </a:p>
        </p:txBody>
      </p:sp>
      <p:sp>
        <p:nvSpPr>
          <p:cNvPr id="13344" name="Working Draft" hidden="1"/>
          <p:cNvSpPr txBox="1">
            <a:spLocks noChangeArrowheads="1"/>
          </p:cNvSpPr>
          <p:nvPr/>
        </p:nvSpPr>
        <p:spPr bwMode="auto">
          <a:xfrm>
            <a:off x="427639" y="594448"/>
            <a:ext cx="4580934" cy="184666"/>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t>Last Modified 10/4/2004 4:39:06 PM Central Europe Standard Time</a:t>
            </a:r>
            <a:endParaRPr lang="cs-CZ" sz="1200" i="0"/>
          </a:p>
        </p:txBody>
      </p:sp>
      <p:sp>
        <p:nvSpPr>
          <p:cNvPr id="13345" name="Printed" hidden="1"/>
          <p:cNvSpPr txBox="1">
            <a:spLocks noChangeArrowheads="1"/>
          </p:cNvSpPr>
          <p:nvPr/>
        </p:nvSpPr>
        <p:spPr bwMode="auto">
          <a:xfrm>
            <a:off x="427640" y="816352"/>
            <a:ext cx="4219617" cy="184666"/>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t>Printed 10/4/2004 11:36:40 AM Central Europe Standard Time</a:t>
            </a:r>
          </a:p>
        </p:txBody>
      </p:sp>
      <p:sp>
        <p:nvSpPr>
          <p:cNvPr id="19" name="Rectangle 92"/>
          <p:cNvSpPr>
            <a:spLocks noGrp="1" noChangeArrowheads="1"/>
          </p:cNvSpPr>
          <p:nvPr>
            <p:ph type="title" hasCustomPrompt="1"/>
          </p:nvPr>
        </p:nvSpPr>
        <p:spPr bwMode="auto">
          <a:xfrm>
            <a:off x="504000" y="1052731"/>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chemeClr val="accent2"/>
                </a:solidFill>
                <a:latin typeface="+mj-lt"/>
                <a:cs typeface="Arial CE" panose="020B0604020202020204" pitchFamily="34" charset="0"/>
              </a:defRPr>
            </a:lvl1pPr>
          </a:lstStyle>
          <a:p>
            <a:pPr lvl="0"/>
            <a:r>
              <a:rPr lang="cs-CZ" dirty="0"/>
              <a:t>KLIKNUTÍM </a:t>
            </a:r>
            <a:r>
              <a:rPr lang="cs-CZ"/>
              <a:t>VLOŽÍTE </a:t>
            </a:r>
            <a:br>
              <a:rPr lang="cs-CZ"/>
            </a:br>
            <a:r>
              <a:rPr lang="cs-CZ"/>
              <a:t>NADPIS </a:t>
            </a:r>
            <a:r>
              <a:rPr lang="cs-CZ" dirty="0"/>
              <a:t>PREZENTACE</a:t>
            </a:r>
            <a:br>
              <a:rPr lang="cs-CZ" dirty="0"/>
            </a:br>
            <a:endParaRPr lang="cs-CZ" dirty="0"/>
          </a:p>
        </p:txBody>
      </p:sp>
      <p:sp>
        <p:nvSpPr>
          <p:cNvPr id="7" name="Text Placeholder 6"/>
          <p:cNvSpPr>
            <a:spLocks noGrp="1"/>
          </p:cNvSpPr>
          <p:nvPr>
            <p:ph type="body" sz="quarter" idx="10" hasCustomPrompt="1"/>
          </p:nvPr>
        </p:nvSpPr>
        <p:spPr>
          <a:xfrm>
            <a:off x="503238" y="4675938"/>
            <a:ext cx="1846262" cy="241300"/>
          </a:xfrm>
        </p:spPr>
        <p:txBody>
          <a:bodyPr/>
          <a:lstStyle>
            <a:lvl1pPr>
              <a:defRPr sz="1800" b="1" baseline="0">
                <a:solidFill>
                  <a:srgbClr val="F24F00"/>
                </a:solidFill>
              </a:defRPr>
            </a:lvl1pPr>
          </a:lstStyle>
          <a:p>
            <a:pPr lvl="0"/>
            <a:r>
              <a:rPr lang="cs-CZ" dirty="0"/>
              <a:t>měsíc rok</a:t>
            </a:r>
          </a:p>
        </p:txBody>
      </p:sp>
      <p:sp>
        <p:nvSpPr>
          <p:cNvPr id="9" name="Text Placeholder 8"/>
          <p:cNvSpPr>
            <a:spLocks noGrp="1"/>
          </p:cNvSpPr>
          <p:nvPr>
            <p:ph type="body" sz="quarter" idx="11" hasCustomPrompt="1"/>
          </p:nvPr>
        </p:nvSpPr>
        <p:spPr>
          <a:xfrm>
            <a:off x="503238" y="5760001"/>
            <a:ext cx="2532062" cy="653500"/>
          </a:xfrm>
        </p:spPr>
        <p:txBody>
          <a:bodyPr/>
          <a:lstStyle>
            <a:lvl1pPr>
              <a:lnSpc>
                <a:spcPts val="1900"/>
              </a:lnSpc>
              <a:defRPr sz="1600" b="1">
                <a:solidFill>
                  <a:srgbClr val="F24F00"/>
                </a:solidFill>
              </a:defRPr>
            </a:lvl1pPr>
          </a:lstStyle>
          <a:p>
            <a:pPr lvl="0"/>
            <a:r>
              <a:rPr lang="cs-CZ" dirty="0"/>
              <a:t>Jméno Příjmení</a:t>
            </a:r>
          </a:p>
          <a:p>
            <a:pPr lvl="0"/>
            <a:r>
              <a:rPr lang="cs-CZ" dirty="0"/>
              <a:t>funkce</a:t>
            </a:r>
          </a:p>
        </p:txBody>
      </p:sp>
      <p:grpSp>
        <p:nvGrpSpPr>
          <p:cNvPr id="22" name="Skupina 21"/>
          <p:cNvGrpSpPr/>
          <p:nvPr userDrawn="1"/>
        </p:nvGrpSpPr>
        <p:grpSpPr>
          <a:xfrm>
            <a:off x="7897239" y="468000"/>
            <a:ext cx="756000" cy="756000"/>
            <a:chOff x="3088481" y="1235075"/>
            <a:chExt cx="2952894" cy="2952894"/>
          </a:xfrm>
        </p:grpSpPr>
        <p:sp>
          <p:nvSpPr>
            <p:cNvPr id="23" name="Obdélník 22"/>
            <p:cNvSpPr/>
            <p:nvPr userDrawn="1"/>
          </p:nvSpPr>
          <p:spPr bwMode="auto">
            <a:xfrm>
              <a:off x="3088481" y="1235075"/>
              <a:ext cx="2952894" cy="2952894"/>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24" name="Volný tvar 23"/>
            <p:cNvSpPr/>
            <p:nvPr userDrawn="1"/>
          </p:nvSpPr>
          <p:spPr bwMode="auto">
            <a:xfrm>
              <a:off x="3648075" y="1800225"/>
              <a:ext cx="1831181" cy="1840706"/>
            </a:xfrm>
            <a:custGeom>
              <a:avLst/>
              <a:gdLst>
                <a:gd name="connsiteX0" fmla="*/ 0 w 1831181"/>
                <a:gd name="connsiteY0" fmla="*/ 0 h 1840706"/>
                <a:gd name="connsiteX1" fmla="*/ 1831181 w 1831181"/>
                <a:gd name="connsiteY1" fmla="*/ 0 h 1840706"/>
                <a:gd name="connsiteX2" fmla="*/ 1831181 w 1831181"/>
                <a:gd name="connsiteY2" fmla="*/ 364331 h 1840706"/>
                <a:gd name="connsiteX3" fmla="*/ 366713 w 1831181"/>
                <a:gd name="connsiteY3" fmla="*/ 364331 h 1840706"/>
                <a:gd name="connsiteX4" fmla="*/ 366713 w 1831181"/>
                <a:gd name="connsiteY4" fmla="*/ 1459706 h 1840706"/>
                <a:gd name="connsiteX5" fmla="*/ 1828800 w 1831181"/>
                <a:gd name="connsiteY5" fmla="*/ 1459706 h 1840706"/>
                <a:gd name="connsiteX6" fmla="*/ 1828800 w 1831181"/>
                <a:gd name="connsiteY6" fmla="*/ 1840706 h 1840706"/>
                <a:gd name="connsiteX7" fmla="*/ 2381 w 1831181"/>
                <a:gd name="connsiteY7" fmla="*/ 1840706 h 1840706"/>
                <a:gd name="connsiteX8" fmla="*/ 0 w 1831181"/>
                <a:gd name="connsiteY8" fmla="*/ 0 h 184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181" h="1840706">
                  <a:moveTo>
                    <a:pt x="0" y="0"/>
                  </a:moveTo>
                  <a:lnTo>
                    <a:pt x="1831181" y="0"/>
                  </a:lnTo>
                  <a:lnTo>
                    <a:pt x="1831181" y="364331"/>
                  </a:lnTo>
                  <a:lnTo>
                    <a:pt x="366713" y="364331"/>
                  </a:lnTo>
                  <a:lnTo>
                    <a:pt x="366713" y="1459706"/>
                  </a:lnTo>
                  <a:lnTo>
                    <a:pt x="1828800" y="1459706"/>
                  </a:lnTo>
                  <a:lnTo>
                    <a:pt x="1828800" y="1840706"/>
                  </a:lnTo>
                  <a:lnTo>
                    <a:pt x="2381" y="1840706"/>
                  </a:lnTo>
                  <a:cubicBezTo>
                    <a:pt x="1587" y="1227137"/>
                    <a:pt x="794" y="613569"/>
                    <a:pt x="0" y="0"/>
                  </a:cubicBezTo>
                  <a:close/>
                </a:path>
              </a:pathLst>
            </a:cu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25" name="Obdélník 24"/>
            <p:cNvSpPr/>
            <p:nvPr userDrawn="1"/>
          </p:nvSpPr>
          <p:spPr bwMode="auto">
            <a:xfrm>
              <a:off x="4391024" y="2531270"/>
              <a:ext cx="1088231" cy="364331"/>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grpSp>
      <p:sp>
        <p:nvSpPr>
          <p:cNvPr id="26" name="Obdélník 25"/>
          <p:cNvSpPr/>
          <p:nvPr userDrawn="1"/>
        </p:nvSpPr>
        <p:spPr bwMode="auto">
          <a:xfrm>
            <a:off x="0" y="6620596"/>
            <a:ext cx="9144000" cy="241697"/>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11" name="Rectangle 5"/>
          <p:cNvSpPr>
            <a:spLocks noChangeArrowheads="1"/>
          </p:cNvSpPr>
          <p:nvPr userDrawn="1"/>
        </p:nvSpPr>
        <p:spPr bwMode="auto">
          <a:xfrm>
            <a:off x="7807883" y="6668419"/>
            <a:ext cx="844430" cy="129148"/>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
        <p:nvSpPr>
          <p:cNvPr id="12" name="Freeform 6"/>
          <p:cNvSpPr>
            <a:spLocks noEditPoints="1"/>
          </p:cNvSpPr>
          <p:nvPr userDrawn="1"/>
        </p:nvSpPr>
        <p:spPr bwMode="auto">
          <a:xfrm>
            <a:off x="7807885" y="6666123"/>
            <a:ext cx="837807" cy="122525"/>
          </a:xfrm>
          <a:custGeom>
            <a:avLst/>
            <a:gdLst>
              <a:gd name="T0" fmla="*/ 1189 w 3542"/>
              <a:gd name="T1" fmla="*/ 206 h 521"/>
              <a:gd name="T2" fmla="*/ 1271 w 3542"/>
              <a:gd name="T3" fmla="*/ 299 h 521"/>
              <a:gd name="T4" fmla="*/ 1279 w 3542"/>
              <a:gd name="T5" fmla="*/ 228 h 521"/>
              <a:gd name="T6" fmla="*/ 1215 w 3542"/>
              <a:gd name="T7" fmla="*/ 206 h 521"/>
              <a:gd name="T8" fmla="*/ 3532 w 3542"/>
              <a:gd name="T9" fmla="*/ 450 h 521"/>
              <a:gd name="T10" fmla="*/ 3266 w 3542"/>
              <a:gd name="T11" fmla="*/ 144 h 521"/>
              <a:gd name="T12" fmla="*/ 3045 w 3542"/>
              <a:gd name="T13" fmla="*/ 288 h 521"/>
              <a:gd name="T14" fmla="*/ 3181 w 3542"/>
              <a:gd name="T15" fmla="*/ 450 h 521"/>
              <a:gd name="T16" fmla="*/ 1505 w 3542"/>
              <a:gd name="T17" fmla="*/ 144 h 521"/>
              <a:gd name="T18" fmla="*/ 1226 w 3542"/>
              <a:gd name="T19" fmla="*/ 144 h 521"/>
              <a:gd name="T20" fmla="*/ 1325 w 3542"/>
              <a:gd name="T21" fmla="*/ 171 h 521"/>
              <a:gd name="T22" fmla="*/ 1362 w 3542"/>
              <a:gd name="T23" fmla="*/ 284 h 521"/>
              <a:gd name="T24" fmla="*/ 1303 w 3542"/>
              <a:gd name="T25" fmla="*/ 364 h 521"/>
              <a:gd name="T26" fmla="*/ 1189 w 3542"/>
              <a:gd name="T27" fmla="*/ 511 h 521"/>
              <a:gd name="T28" fmla="*/ 784 w 3542"/>
              <a:gd name="T29" fmla="*/ 355 h 521"/>
              <a:gd name="T30" fmla="*/ 796 w 3542"/>
              <a:gd name="T31" fmla="*/ 420 h 521"/>
              <a:gd name="T32" fmla="*/ 883 w 3542"/>
              <a:gd name="T33" fmla="*/ 452 h 521"/>
              <a:gd name="T34" fmla="*/ 937 w 3542"/>
              <a:gd name="T35" fmla="*/ 401 h 521"/>
              <a:gd name="T36" fmla="*/ 1014 w 3542"/>
              <a:gd name="T37" fmla="*/ 144 h 521"/>
              <a:gd name="T38" fmla="*/ 986 w 3542"/>
              <a:gd name="T39" fmla="*/ 467 h 521"/>
              <a:gd name="T40" fmla="*/ 862 w 3542"/>
              <a:gd name="T41" fmla="*/ 520 h 521"/>
              <a:gd name="T42" fmla="*/ 739 w 3542"/>
              <a:gd name="T43" fmla="*/ 467 h 521"/>
              <a:gd name="T44" fmla="*/ 711 w 3542"/>
              <a:gd name="T45" fmla="*/ 144 h 521"/>
              <a:gd name="T46" fmla="*/ 647 w 3542"/>
              <a:gd name="T47" fmla="*/ 144 h 521"/>
              <a:gd name="T48" fmla="*/ 417 w 3542"/>
              <a:gd name="T49" fmla="*/ 355 h 521"/>
              <a:gd name="T50" fmla="*/ 167 w 3542"/>
              <a:gd name="T51" fmla="*/ 139 h 521"/>
              <a:gd name="T52" fmla="*/ 195 w 3542"/>
              <a:gd name="T53" fmla="*/ 214 h 521"/>
              <a:gd name="T54" fmla="*/ 116 w 3542"/>
              <a:gd name="T55" fmla="*/ 205 h 521"/>
              <a:gd name="T56" fmla="*/ 100 w 3542"/>
              <a:gd name="T57" fmla="*/ 256 h 521"/>
              <a:gd name="T58" fmla="*/ 174 w 3542"/>
              <a:gd name="T59" fmla="*/ 293 h 521"/>
              <a:gd name="T60" fmla="*/ 241 w 3542"/>
              <a:gd name="T61" fmla="*/ 337 h 521"/>
              <a:gd name="T62" fmla="*/ 251 w 3542"/>
              <a:gd name="T63" fmla="*/ 449 h 521"/>
              <a:gd name="T64" fmla="*/ 157 w 3542"/>
              <a:gd name="T65" fmla="*/ 519 h 521"/>
              <a:gd name="T66" fmla="*/ 22 w 3542"/>
              <a:gd name="T67" fmla="*/ 476 h 521"/>
              <a:gd name="T68" fmla="*/ 89 w 3542"/>
              <a:gd name="T69" fmla="*/ 447 h 521"/>
              <a:gd name="T70" fmla="*/ 173 w 3542"/>
              <a:gd name="T71" fmla="*/ 434 h 521"/>
              <a:gd name="T72" fmla="*/ 164 w 3542"/>
              <a:gd name="T73" fmla="*/ 366 h 521"/>
              <a:gd name="T74" fmla="*/ 81 w 3542"/>
              <a:gd name="T75" fmla="*/ 331 h 521"/>
              <a:gd name="T76" fmla="*/ 19 w 3542"/>
              <a:gd name="T77" fmla="*/ 244 h 521"/>
              <a:gd name="T78" fmla="*/ 83 w 3542"/>
              <a:gd name="T79" fmla="*/ 148 h 521"/>
              <a:gd name="T80" fmla="*/ 2397 w 3542"/>
              <a:gd name="T81" fmla="*/ 511 h 521"/>
              <a:gd name="T82" fmla="*/ 2021 w 3542"/>
              <a:gd name="T83" fmla="*/ 511 h 521"/>
              <a:gd name="T84" fmla="*/ 2858 w 3542"/>
              <a:gd name="T85" fmla="*/ 148 h 521"/>
              <a:gd name="T86" fmla="*/ 2815 w 3542"/>
              <a:gd name="T87" fmla="*/ 203 h 521"/>
              <a:gd name="T88" fmla="*/ 2702 w 3542"/>
              <a:gd name="T89" fmla="*/ 238 h 521"/>
              <a:gd name="T90" fmla="*/ 2670 w 3542"/>
              <a:gd name="T91" fmla="*/ 355 h 521"/>
              <a:gd name="T92" fmla="*/ 2742 w 3542"/>
              <a:gd name="T93" fmla="*/ 445 h 521"/>
              <a:gd name="T94" fmla="*/ 2860 w 3542"/>
              <a:gd name="T95" fmla="*/ 433 h 521"/>
              <a:gd name="T96" fmla="*/ 2813 w 3542"/>
              <a:gd name="T97" fmla="*/ 519 h 521"/>
              <a:gd name="T98" fmla="*/ 2661 w 3542"/>
              <a:gd name="T99" fmla="*/ 475 h 521"/>
              <a:gd name="T100" fmla="*/ 2591 w 3542"/>
              <a:gd name="T101" fmla="*/ 329 h 521"/>
              <a:gd name="T102" fmla="*/ 2662 w 3542"/>
              <a:gd name="T103" fmla="*/ 181 h 521"/>
              <a:gd name="T104" fmla="*/ 1609 w 3542"/>
              <a:gd name="T105" fmla="*/ 135 h 521"/>
              <a:gd name="T106" fmla="*/ 1962 w 3542"/>
              <a:gd name="T107" fmla="*/ 519 h 521"/>
              <a:gd name="T108" fmla="*/ 1609 w 3542"/>
              <a:gd name="T109" fmla="*/ 135 h 521"/>
              <a:gd name="T110" fmla="*/ 2781 w 3542"/>
              <a:gd name="T111" fmla="*/ 11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42" h="521">
                <a:moveTo>
                  <a:pt x="2211" y="243"/>
                </a:moveTo>
                <a:lnTo>
                  <a:pt x="2156" y="376"/>
                </a:lnTo>
                <a:lnTo>
                  <a:pt x="2263" y="376"/>
                </a:lnTo>
                <a:lnTo>
                  <a:pt x="2211" y="243"/>
                </a:lnTo>
                <a:close/>
                <a:moveTo>
                  <a:pt x="1189" y="206"/>
                </a:moveTo>
                <a:lnTo>
                  <a:pt x="1189" y="313"/>
                </a:lnTo>
                <a:lnTo>
                  <a:pt x="1219" y="313"/>
                </a:lnTo>
                <a:lnTo>
                  <a:pt x="1241" y="311"/>
                </a:lnTo>
                <a:lnTo>
                  <a:pt x="1257" y="307"/>
                </a:lnTo>
                <a:lnTo>
                  <a:pt x="1271" y="299"/>
                </a:lnTo>
                <a:lnTo>
                  <a:pt x="1281" y="289"/>
                </a:lnTo>
                <a:lnTo>
                  <a:pt x="1286" y="276"/>
                </a:lnTo>
                <a:lnTo>
                  <a:pt x="1288" y="260"/>
                </a:lnTo>
                <a:lnTo>
                  <a:pt x="1286" y="243"/>
                </a:lnTo>
                <a:lnTo>
                  <a:pt x="1279" y="228"/>
                </a:lnTo>
                <a:lnTo>
                  <a:pt x="1269" y="218"/>
                </a:lnTo>
                <a:lnTo>
                  <a:pt x="1259" y="212"/>
                </a:lnTo>
                <a:lnTo>
                  <a:pt x="1247" y="208"/>
                </a:lnTo>
                <a:lnTo>
                  <a:pt x="1233" y="206"/>
                </a:lnTo>
                <a:lnTo>
                  <a:pt x="1215" y="206"/>
                </a:lnTo>
                <a:lnTo>
                  <a:pt x="1189" y="206"/>
                </a:lnTo>
                <a:close/>
                <a:moveTo>
                  <a:pt x="3266" y="144"/>
                </a:moveTo>
                <a:lnTo>
                  <a:pt x="3542" y="144"/>
                </a:lnTo>
                <a:lnTo>
                  <a:pt x="3359" y="450"/>
                </a:lnTo>
                <a:lnTo>
                  <a:pt x="3532" y="450"/>
                </a:lnTo>
                <a:lnTo>
                  <a:pt x="3532" y="511"/>
                </a:lnTo>
                <a:lnTo>
                  <a:pt x="3237" y="511"/>
                </a:lnTo>
                <a:lnTo>
                  <a:pt x="3421" y="206"/>
                </a:lnTo>
                <a:lnTo>
                  <a:pt x="3266" y="206"/>
                </a:lnTo>
                <a:lnTo>
                  <a:pt x="3266" y="144"/>
                </a:lnTo>
                <a:close/>
                <a:moveTo>
                  <a:pt x="2973" y="144"/>
                </a:moveTo>
                <a:lnTo>
                  <a:pt x="3181" y="144"/>
                </a:lnTo>
                <a:lnTo>
                  <a:pt x="3181" y="206"/>
                </a:lnTo>
                <a:lnTo>
                  <a:pt x="3045" y="206"/>
                </a:lnTo>
                <a:lnTo>
                  <a:pt x="3045" y="288"/>
                </a:lnTo>
                <a:lnTo>
                  <a:pt x="3175" y="288"/>
                </a:lnTo>
                <a:lnTo>
                  <a:pt x="3175" y="350"/>
                </a:lnTo>
                <a:lnTo>
                  <a:pt x="3045" y="350"/>
                </a:lnTo>
                <a:lnTo>
                  <a:pt x="3045" y="450"/>
                </a:lnTo>
                <a:lnTo>
                  <a:pt x="3181" y="450"/>
                </a:lnTo>
                <a:lnTo>
                  <a:pt x="3181" y="511"/>
                </a:lnTo>
                <a:lnTo>
                  <a:pt x="2973" y="511"/>
                </a:lnTo>
                <a:lnTo>
                  <a:pt x="2973" y="144"/>
                </a:lnTo>
                <a:close/>
                <a:moveTo>
                  <a:pt x="1432" y="144"/>
                </a:moveTo>
                <a:lnTo>
                  <a:pt x="1505" y="144"/>
                </a:lnTo>
                <a:lnTo>
                  <a:pt x="1505" y="511"/>
                </a:lnTo>
                <a:lnTo>
                  <a:pt x="1432" y="511"/>
                </a:lnTo>
                <a:lnTo>
                  <a:pt x="1432" y="144"/>
                </a:lnTo>
                <a:close/>
                <a:moveTo>
                  <a:pt x="1116" y="144"/>
                </a:moveTo>
                <a:lnTo>
                  <a:pt x="1226" y="144"/>
                </a:lnTo>
                <a:lnTo>
                  <a:pt x="1253" y="145"/>
                </a:lnTo>
                <a:lnTo>
                  <a:pt x="1275" y="147"/>
                </a:lnTo>
                <a:lnTo>
                  <a:pt x="1294" y="153"/>
                </a:lnTo>
                <a:lnTo>
                  <a:pt x="1311" y="161"/>
                </a:lnTo>
                <a:lnTo>
                  <a:pt x="1325" y="171"/>
                </a:lnTo>
                <a:lnTo>
                  <a:pt x="1341" y="189"/>
                </a:lnTo>
                <a:lnTo>
                  <a:pt x="1353" y="210"/>
                </a:lnTo>
                <a:lnTo>
                  <a:pt x="1361" y="235"/>
                </a:lnTo>
                <a:lnTo>
                  <a:pt x="1364" y="260"/>
                </a:lnTo>
                <a:lnTo>
                  <a:pt x="1362" y="284"/>
                </a:lnTo>
                <a:lnTo>
                  <a:pt x="1356" y="306"/>
                </a:lnTo>
                <a:lnTo>
                  <a:pt x="1346" y="326"/>
                </a:lnTo>
                <a:lnTo>
                  <a:pt x="1333" y="343"/>
                </a:lnTo>
                <a:lnTo>
                  <a:pt x="1320" y="355"/>
                </a:lnTo>
                <a:lnTo>
                  <a:pt x="1303" y="364"/>
                </a:lnTo>
                <a:lnTo>
                  <a:pt x="1284" y="370"/>
                </a:lnTo>
                <a:lnTo>
                  <a:pt x="1261" y="374"/>
                </a:lnTo>
                <a:lnTo>
                  <a:pt x="1237" y="376"/>
                </a:lnTo>
                <a:lnTo>
                  <a:pt x="1189" y="376"/>
                </a:lnTo>
                <a:lnTo>
                  <a:pt x="1189" y="511"/>
                </a:lnTo>
                <a:lnTo>
                  <a:pt x="1116" y="511"/>
                </a:lnTo>
                <a:lnTo>
                  <a:pt x="1116" y="144"/>
                </a:lnTo>
                <a:close/>
                <a:moveTo>
                  <a:pt x="711" y="144"/>
                </a:moveTo>
                <a:lnTo>
                  <a:pt x="784" y="144"/>
                </a:lnTo>
                <a:lnTo>
                  <a:pt x="784" y="355"/>
                </a:lnTo>
                <a:lnTo>
                  <a:pt x="784" y="374"/>
                </a:lnTo>
                <a:lnTo>
                  <a:pt x="785" y="390"/>
                </a:lnTo>
                <a:lnTo>
                  <a:pt x="788" y="401"/>
                </a:lnTo>
                <a:lnTo>
                  <a:pt x="792" y="411"/>
                </a:lnTo>
                <a:lnTo>
                  <a:pt x="796" y="420"/>
                </a:lnTo>
                <a:lnTo>
                  <a:pt x="808" y="434"/>
                </a:lnTo>
                <a:lnTo>
                  <a:pt x="823" y="446"/>
                </a:lnTo>
                <a:lnTo>
                  <a:pt x="842" y="452"/>
                </a:lnTo>
                <a:lnTo>
                  <a:pt x="862" y="454"/>
                </a:lnTo>
                <a:lnTo>
                  <a:pt x="883" y="452"/>
                </a:lnTo>
                <a:lnTo>
                  <a:pt x="901" y="446"/>
                </a:lnTo>
                <a:lnTo>
                  <a:pt x="916" y="434"/>
                </a:lnTo>
                <a:lnTo>
                  <a:pt x="928" y="420"/>
                </a:lnTo>
                <a:lnTo>
                  <a:pt x="934" y="411"/>
                </a:lnTo>
                <a:lnTo>
                  <a:pt x="937" y="401"/>
                </a:lnTo>
                <a:lnTo>
                  <a:pt x="939" y="390"/>
                </a:lnTo>
                <a:lnTo>
                  <a:pt x="940" y="374"/>
                </a:lnTo>
                <a:lnTo>
                  <a:pt x="940" y="355"/>
                </a:lnTo>
                <a:lnTo>
                  <a:pt x="940" y="144"/>
                </a:lnTo>
                <a:lnTo>
                  <a:pt x="1014" y="144"/>
                </a:lnTo>
                <a:lnTo>
                  <a:pt x="1014" y="368"/>
                </a:lnTo>
                <a:lnTo>
                  <a:pt x="1012" y="399"/>
                </a:lnTo>
                <a:lnTo>
                  <a:pt x="1007" y="425"/>
                </a:lnTo>
                <a:lnTo>
                  <a:pt x="999" y="448"/>
                </a:lnTo>
                <a:lnTo>
                  <a:pt x="986" y="467"/>
                </a:lnTo>
                <a:lnTo>
                  <a:pt x="968" y="485"/>
                </a:lnTo>
                <a:lnTo>
                  <a:pt x="946" y="500"/>
                </a:lnTo>
                <a:lnTo>
                  <a:pt x="921" y="511"/>
                </a:lnTo>
                <a:lnTo>
                  <a:pt x="893" y="518"/>
                </a:lnTo>
                <a:lnTo>
                  <a:pt x="862" y="520"/>
                </a:lnTo>
                <a:lnTo>
                  <a:pt x="832" y="518"/>
                </a:lnTo>
                <a:lnTo>
                  <a:pt x="804" y="511"/>
                </a:lnTo>
                <a:lnTo>
                  <a:pt x="779" y="500"/>
                </a:lnTo>
                <a:lnTo>
                  <a:pt x="756" y="485"/>
                </a:lnTo>
                <a:lnTo>
                  <a:pt x="739" y="467"/>
                </a:lnTo>
                <a:lnTo>
                  <a:pt x="726" y="448"/>
                </a:lnTo>
                <a:lnTo>
                  <a:pt x="717" y="425"/>
                </a:lnTo>
                <a:lnTo>
                  <a:pt x="713" y="399"/>
                </a:lnTo>
                <a:lnTo>
                  <a:pt x="711" y="368"/>
                </a:lnTo>
                <a:lnTo>
                  <a:pt x="711" y="144"/>
                </a:lnTo>
                <a:close/>
                <a:moveTo>
                  <a:pt x="343" y="144"/>
                </a:moveTo>
                <a:lnTo>
                  <a:pt x="417" y="144"/>
                </a:lnTo>
                <a:lnTo>
                  <a:pt x="417" y="299"/>
                </a:lnTo>
                <a:lnTo>
                  <a:pt x="554" y="144"/>
                </a:lnTo>
                <a:lnTo>
                  <a:pt x="647" y="144"/>
                </a:lnTo>
                <a:lnTo>
                  <a:pt x="488" y="313"/>
                </a:lnTo>
                <a:lnTo>
                  <a:pt x="656" y="511"/>
                </a:lnTo>
                <a:lnTo>
                  <a:pt x="559" y="511"/>
                </a:lnTo>
                <a:lnTo>
                  <a:pt x="425" y="346"/>
                </a:lnTo>
                <a:lnTo>
                  <a:pt x="417" y="355"/>
                </a:lnTo>
                <a:lnTo>
                  <a:pt x="417" y="511"/>
                </a:lnTo>
                <a:lnTo>
                  <a:pt x="343" y="511"/>
                </a:lnTo>
                <a:lnTo>
                  <a:pt x="343" y="144"/>
                </a:lnTo>
                <a:close/>
                <a:moveTo>
                  <a:pt x="136" y="137"/>
                </a:moveTo>
                <a:lnTo>
                  <a:pt x="167" y="139"/>
                </a:lnTo>
                <a:lnTo>
                  <a:pt x="196" y="148"/>
                </a:lnTo>
                <a:lnTo>
                  <a:pt x="222" y="161"/>
                </a:lnTo>
                <a:lnTo>
                  <a:pt x="247" y="179"/>
                </a:lnTo>
                <a:lnTo>
                  <a:pt x="209" y="227"/>
                </a:lnTo>
                <a:lnTo>
                  <a:pt x="195" y="214"/>
                </a:lnTo>
                <a:lnTo>
                  <a:pt x="180" y="204"/>
                </a:lnTo>
                <a:lnTo>
                  <a:pt x="164" y="199"/>
                </a:lnTo>
                <a:lnTo>
                  <a:pt x="148" y="198"/>
                </a:lnTo>
                <a:lnTo>
                  <a:pt x="131" y="200"/>
                </a:lnTo>
                <a:lnTo>
                  <a:pt x="116" y="205"/>
                </a:lnTo>
                <a:lnTo>
                  <a:pt x="105" y="215"/>
                </a:lnTo>
                <a:lnTo>
                  <a:pt x="97" y="225"/>
                </a:lnTo>
                <a:lnTo>
                  <a:pt x="95" y="238"/>
                </a:lnTo>
                <a:lnTo>
                  <a:pt x="96" y="247"/>
                </a:lnTo>
                <a:lnTo>
                  <a:pt x="100" y="256"/>
                </a:lnTo>
                <a:lnTo>
                  <a:pt x="107" y="263"/>
                </a:lnTo>
                <a:lnTo>
                  <a:pt x="118" y="270"/>
                </a:lnTo>
                <a:lnTo>
                  <a:pt x="132" y="277"/>
                </a:lnTo>
                <a:lnTo>
                  <a:pt x="151" y="285"/>
                </a:lnTo>
                <a:lnTo>
                  <a:pt x="174" y="293"/>
                </a:lnTo>
                <a:lnTo>
                  <a:pt x="191" y="300"/>
                </a:lnTo>
                <a:lnTo>
                  <a:pt x="206" y="307"/>
                </a:lnTo>
                <a:lnTo>
                  <a:pt x="216" y="314"/>
                </a:lnTo>
                <a:lnTo>
                  <a:pt x="227" y="322"/>
                </a:lnTo>
                <a:lnTo>
                  <a:pt x="241" y="337"/>
                </a:lnTo>
                <a:lnTo>
                  <a:pt x="252" y="356"/>
                </a:lnTo>
                <a:lnTo>
                  <a:pt x="257" y="376"/>
                </a:lnTo>
                <a:lnTo>
                  <a:pt x="260" y="399"/>
                </a:lnTo>
                <a:lnTo>
                  <a:pt x="257" y="426"/>
                </a:lnTo>
                <a:lnTo>
                  <a:pt x="251" y="449"/>
                </a:lnTo>
                <a:lnTo>
                  <a:pt x="239" y="469"/>
                </a:lnTo>
                <a:lnTo>
                  <a:pt x="224" y="487"/>
                </a:lnTo>
                <a:lnTo>
                  <a:pt x="204" y="502"/>
                </a:lnTo>
                <a:lnTo>
                  <a:pt x="183" y="511"/>
                </a:lnTo>
                <a:lnTo>
                  <a:pt x="157" y="519"/>
                </a:lnTo>
                <a:lnTo>
                  <a:pt x="129" y="521"/>
                </a:lnTo>
                <a:lnTo>
                  <a:pt x="98" y="518"/>
                </a:lnTo>
                <a:lnTo>
                  <a:pt x="70" y="510"/>
                </a:lnTo>
                <a:lnTo>
                  <a:pt x="44" y="496"/>
                </a:lnTo>
                <a:lnTo>
                  <a:pt x="22" y="476"/>
                </a:lnTo>
                <a:lnTo>
                  <a:pt x="0" y="451"/>
                </a:lnTo>
                <a:lnTo>
                  <a:pt x="48" y="405"/>
                </a:lnTo>
                <a:lnTo>
                  <a:pt x="58" y="423"/>
                </a:lnTo>
                <a:lnTo>
                  <a:pt x="72" y="436"/>
                </a:lnTo>
                <a:lnTo>
                  <a:pt x="89" y="447"/>
                </a:lnTo>
                <a:lnTo>
                  <a:pt x="107" y="453"/>
                </a:lnTo>
                <a:lnTo>
                  <a:pt x="127" y="455"/>
                </a:lnTo>
                <a:lnTo>
                  <a:pt x="145" y="452"/>
                </a:lnTo>
                <a:lnTo>
                  <a:pt x="161" y="446"/>
                </a:lnTo>
                <a:lnTo>
                  <a:pt x="173" y="434"/>
                </a:lnTo>
                <a:lnTo>
                  <a:pt x="182" y="420"/>
                </a:lnTo>
                <a:lnTo>
                  <a:pt x="184" y="403"/>
                </a:lnTo>
                <a:lnTo>
                  <a:pt x="182" y="388"/>
                </a:lnTo>
                <a:lnTo>
                  <a:pt x="175" y="377"/>
                </a:lnTo>
                <a:lnTo>
                  <a:pt x="164" y="366"/>
                </a:lnTo>
                <a:lnTo>
                  <a:pt x="157" y="362"/>
                </a:lnTo>
                <a:lnTo>
                  <a:pt x="147" y="357"/>
                </a:lnTo>
                <a:lnTo>
                  <a:pt x="132" y="351"/>
                </a:lnTo>
                <a:lnTo>
                  <a:pt x="111" y="344"/>
                </a:lnTo>
                <a:lnTo>
                  <a:pt x="81" y="331"/>
                </a:lnTo>
                <a:lnTo>
                  <a:pt x="57" y="319"/>
                </a:lnTo>
                <a:lnTo>
                  <a:pt x="40" y="304"/>
                </a:lnTo>
                <a:lnTo>
                  <a:pt x="28" y="287"/>
                </a:lnTo>
                <a:lnTo>
                  <a:pt x="22" y="267"/>
                </a:lnTo>
                <a:lnTo>
                  <a:pt x="19" y="244"/>
                </a:lnTo>
                <a:lnTo>
                  <a:pt x="22" y="219"/>
                </a:lnTo>
                <a:lnTo>
                  <a:pt x="30" y="197"/>
                </a:lnTo>
                <a:lnTo>
                  <a:pt x="44" y="176"/>
                </a:lnTo>
                <a:lnTo>
                  <a:pt x="62" y="159"/>
                </a:lnTo>
                <a:lnTo>
                  <a:pt x="83" y="148"/>
                </a:lnTo>
                <a:lnTo>
                  <a:pt x="108" y="140"/>
                </a:lnTo>
                <a:lnTo>
                  <a:pt x="136" y="137"/>
                </a:lnTo>
                <a:close/>
                <a:moveTo>
                  <a:pt x="2183" y="135"/>
                </a:moveTo>
                <a:lnTo>
                  <a:pt x="2239" y="135"/>
                </a:lnTo>
                <a:lnTo>
                  <a:pt x="2397" y="511"/>
                </a:lnTo>
                <a:lnTo>
                  <a:pt x="2318" y="511"/>
                </a:lnTo>
                <a:lnTo>
                  <a:pt x="2286" y="434"/>
                </a:lnTo>
                <a:lnTo>
                  <a:pt x="2132" y="434"/>
                </a:lnTo>
                <a:lnTo>
                  <a:pt x="2099" y="511"/>
                </a:lnTo>
                <a:lnTo>
                  <a:pt x="2021" y="511"/>
                </a:lnTo>
                <a:lnTo>
                  <a:pt x="2183" y="135"/>
                </a:lnTo>
                <a:close/>
                <a:moveTo>
                  <a:pt x="2790" y="135"/>
                </a:moveTo>
                <a:lnTo>
                  <a:pt x="2814" y="136"/>
                </a:lnTo>
                <a:lnTo>
                  <a:pt x="2835" y="140"/>
                </a:lnTo>
                <a:lnTo>
                  <a:pt x="2858" y="148"/>
                </a:lnTo>
                <a:lnTo>
                  <a:pt x="2882" y="157"/>
                </a:lnTo>
                <a:lnTo>
                  <a:pt x="2882" y="242"/>
                </a:lnTo>
                <a:lnTo>
                  <a:pt x="2859" y="223"/>
                </a:lnTo>
                <a:lnTo>
                  <a:pt x="2838" y="210"/>
                </a:lnTo>
                <a:lnTo>
                  <a:pt x="2815" y="203"/>
                </a:lnTo>
                <a:lnTo>
                  <a:pt x="2790" y="201"/>
                </a:lnTo>
                <a:lnTo>
                  <a:pt x="2765" y="203"/>
                </a:lnTo>
                <a:lnTo>
                  <a:pt x="2741" y="210"/>
                </a:lnTo>
                <a:lnTo>
                  <a:pt x="2721" y="222"/>
                </a:lnTo>
                <a:lnTo>
                  <a:pt x="2702" y="238"/>
                </a:lnTo>
                <a:lnTo>
                  <a:pt x="2687" y="257"/>
                </a:lnTo>
                <a:lnTo>
                  <a:pt x="2676" y="278"/>
                </a:lnTo>
                <a:lnTo>
                  <a:pt x="2670" y="303"/>
                </a:lnTo>
                <a:lnTo>
                  <a:pt x="2667" y="329"/>
                </a:lnTo>
                <a:lnTo>
                  <a:pt x="2670" y="355"/>
                </a:lnTo>
                <a:lnTo>
                  <a:pt x="2676" y="379"/>
                </a:lnTo>
                <a:lnTo>
                  <a:pt x="2687" y="400"/>
                </a:lnTo>
                <a:lnTo>
                  <a:pt x="2702" y="418"/>
                </a:lnTo>
                <a:lnTo>
                  <a:pt x="2721" y="434"/>
                </a:lnTo>
                <a:lnTo>
                  <a:pt x="2742" y="445"/>
                </a:lnTo>
                <a:lnTo>
                  <a:pt x="2766" y="452"/>
                </a:lnTo>
                <a:lnTo>
                  <a:pt x="2791" y="454"/>
                </a:lnTo>
                <a:lnTo>
                  <a:pt x="2816" y="452"/>
                </a:lnTo>
                <a:lnTo>
                  <a:pt x="2839" y="445"/>
                </a:lnTo>
                <a:lnTo>
                  <a:pt x="2860" y="433"/>
                </a:lnTo>
                <a:lnTo>
                  <a:pt x="2882" y="414"/>
                </a:lnTo>
                <a:lnTo>
                  <a:pt x="2882" y="499"/>
                </a:lnTo>
                <a:lnTo>
                  <a:pt x="2858" y="508"/>
                </a:lnTo>
                <a:lnTo>
                  <a:pt x="2835" y="516"/>
                </a:lnTo>
                <a:lnTo>
                  <a:pt x="2813" y="519"/>
                </a:lnTo>
                <a:lnTo>
                  <a:pt x="2790" y="520"/>
                </a:lnTo>
                <a:lnTo>
                  <a:pt x="2754" y="517"/>
                </a:lnTo>
                <a:lnTo>
                  <a:pt x="2721" y="508"/>
                </a:lnTo>
                <a:lnTo>
                  <a:pt x="2689" y="494"/>
                </a:lnTo>
                <a:lnTo>
                  <a:pt x="2661" y="475"/>
                </a:lnTo>
                <a:lnTo>
                  <a:pt x="2637" y="453"/>
                </a:lnTo>
                <a:lnTo>
                  <a:pt x="2618" y="427"/>
                </a:lnTo>
                <a:lnTo>
                  <a:pt x="2604" y="397"/>
                </a:lnTo>
                <a:lnTo>
                  <a:pt x="2594" y="364"/>
                </a:lnTo>
                <a:lnTo>
                  <a:pt x="2591" y="329"/>
                </a:lnTo>
                <a:lnTo>
                  <a:pt x="2594" y="294"/>
                </a:lnTo>
                <a:lnTo>
                  <a:pt x="2604" y="261"/>
                </a:lnTo>
                <a:lnTo>
                  <a:pt x="2618" y="232"/>
                </a:lnTo>
                <a:lnTo>
                  <a:pt x="2637" y="204"/>
                </a:lnTo>
                <a:lnTo>
                  <a:pt x="2662" y="181"/>
                </a:lnTo>
                <a:lnTo>
                  <a:pt x="2689" y="162"/>
                </a:lnTo>
                <a:lnTo>
                  <a:pt x="2721" y="147"/>
                </a:lnTo>
                <a:lnTo>
                  <a:pt x="2754" y="138"/>
                </a:lnTo>
                <a:lnTo>
                  <a:pt x="2790" y="135"/>
                </a:lnTo>
                <a:close/>
                <a:moveTo>
                  <a:pt x="1609" y="135"/>
                </a:moveTo>
                <a:lnTo>
                  <a:pt x="1660" y="135"/>
                </a:lnTo>
                <a:lnTo>
                  <a:pt x="1889" y="392"/>
                </a:lnTo>
                <a:lnTo>
                  <a:pt x="1889" y="144"/>
                </a:lnTo>
                <a:lnTo>
                  <a:pt x="1962" y="144"/>
                </a:lnTo>
                <a:lnTo>
                  <a:pt x="1962" y="519"/>
                </a:lnTo>
                <a:lnTo>
                  <a:pt x="1912" y="519"/>
                </a:lnTo>
                <a:lnTo>
                  <a:pt x="1682" y="262"/>
                </a:lnTo>
                <a:lnTo>
                  <a:pt x="1682" y="511"/>
                </a:lnTo>
                <a:lnTo>
                  <a:pt x="1609" y="511"/>
                </a:lnTo>
                <a:lnTo>
                  <a:pt x="1609" y="135"/>
                </a:lnTo>
                <a:close/>
                <a:moveTo>
                  <a:pt x="2720" y="0"/>
                </a:moveTo>
                <a:lnTo>
                  <a:pt x="2781" y="49"/>
                </a:lnTo>
                <a:lnTo>
                  <a:pt x="2843" y="0"/>
                </a:lnTo>
                <a:lnTo>
                  <a:pt x="2878" y="32"/>
                </a:lnTo>
                <a:lnTo>
                  <a:pt x="2781" y="110"/>
                </a:lnTo>
                <a:lnTo>
                  <a:pt x="2685" y="32"/>
                </a:lnTo>
                <a:lnTo>
                  <a:pt x="27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ln>
                <a:noFill/>
              </a:ln>
            </a:endParaRPr>
          </a:p>
        </p:txBody>
      </p:sp>
    </p:spTree>
  </p:cSld>
  <p:clrMapOvr>
    <a:masterClrMapping/>
  </p:clrMapOvr>
  <p:extLst>
    <p:ext uri="{DCECCB84-F9BA-43D5-87BE-67443E8EF086}">
      <p15:sldGuideLst xmlns:p15="http://schemas.microsoft.com/office/powerpoint/2012/main">
        <p15:guide id="1" orient="horz" pos="777" userDrawn="1">
          <p15:clr>
            <a:srgbClr val="FBAE40"/>
          </p15:clr>
        </p15:guide>
        <p15:guide id="2" pos="496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2088000" y="2527201"/>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5"/>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6"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Tree>
    <p:extLst>
      <p:ext uri="{BB962C8B-B14F-4D97-AF65-F5344CB8AC3E}">
        <p14:creationId xmlns:p14="http://schemas.microsoft.com/office/powerpoint/2010/main" val="900351200"/>
      </p:ext>
    </p:extLst>
  </p:cSld>
  <p:clrMapOvr>
    <a:masterClrMapping/>
  </p:clrMapOvr>
  <p:extLst>
    <p:ext uri="{DCECCB84-F9BA-43D5-87BE-67443E8EF086}">
      <p15:sldGuideLst xmlns:p15="http://schemas.microsoft.com/office/powerpoint/2012/main">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dirty="0"/>
              <a:t>PO KLIKNUTÍ MŮŽETE ZADAT VLASTNÍ NADPIS, V TÉTO ŠABLONĚ IDEÁLNĚ DVOUŘÁDKOVÝ</a:t>
            </a:r>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2088000" y="2102401"/>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1275"/>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12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8" name="Picture Placeholder 3"/>
          <p:cNvSpPr>
            <a:spLocks noGrp="1"/>
          </p:cNvSpPr>
          <p:nvPr>
            <p:ph type="pic" sz="quarter" idx="14" hasCustomPrompt="1"/>
          </p:nvPr>
        </p:nvSpPr>
        <p:spPr>
          <a:xfrm>
            <a:off x="504000" y="210240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Tree>
    <p:extLst>
      <p:ext uri="{BB962C8B-B14F-4D97-AF65-F5344CB8AC3E}">
        <p14:creationId xmlns:p14="http://schemas.microsoft.com/office/powerpoint/2010/main" val="219176661"/>
      </p:ext>
    </p:extLst>
  </p:cSld>
  <p:clrMapOvr>
    <a:masterClrMapping/>
  </p:clrMapOvr>
  <p:extLst>
    <p:ext uri="{DCECCB84-F9BA-43D5-87BE-67443E8EF086}">
      <p15:sldGuideLst xmlns:p15="http://schemas.microsoft.com/office/powerpoint/2012/main">
        <p15:guide id="1" pos="317">
          <p15:clr>
            <a:srgbClr val="FBAE40"/>
          </p15:clr>
        </p15:guide>
        <p15:guide id="2" pos="544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2088000" y="2527201"/>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5"/>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6"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Tree>
    <p:extLst>
      <p:ext uri="{BB962C8B-B14F-4D97-AF65-F5344CB8AC3E}">
        <p14:creationId xmlns:p14="http://schemas.microsoft.com/office/powerpoint/2010/main" val="418414679"/>
      </p:ext>
    </p:extLst>
  </p:cSld>
  <p:clrMapOvr>
    <a:masterClrMapping/>
  </p:clrMapOvr>
  <p:extLst>
    <p:ext uri="{DCECCB84-F9BA-43D5-87BE-67443E8EF086}">
      <p15:sldGuideLst xmlns:p15="http://schemas.microsoft.com/office/powerpoint/2012/main">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8" name="Picture Placeholder 3"/>
          <p:cNvSpPr>
            <a:spLocks noGrp="1"/>
          </p:cNvSpPr>
          <p:nvPr>
            <p:ph type="pic" sz="quarter" idx="14" hasCustomPrompt="1"/>
          </p:nvPr>
        </p:nvSpPr>
        <p:spPr>
          <a:xfrm>
            <a:off x="504000" y="210240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dirty="0"/>
              <a:t>PO KLIKNUTÍ MŮŽETE ZADAT VLASTNÍ NADPIS, V TÉTO ŠABLONĚ IDEÁLNĚ DVOUŘÁDKOVÝ</a:t>
            </a:r>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504000" y="2102401"/>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504000" y="3831275"/>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2153753695"/>
      </p:ext>
    </p:extLst>
  </p:cSld>
  <p:clrMapOvr>
    <a:masterClrMapping/>
  </p:clrMapOvr>
  <p:extLst>
    <p:ext uri="{DCECCB84-F9BA-43D5-87BE-67443E8EF086}">
      <p15:sldGuideLst xmlns:p15="http://schemas.microsoft.com/office/powerpoint/2012/main">
        <p15:guide id="1" pos="317">
          <p15:clr>
            <a:srgbClr val="FBAE40"/>
          </p15:clr>
        </p15:guide>
        <p15:guide id="2" pos="54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a:t>Podtitulek</a:t>
            </a:r>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3"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17" name="Content Placeholder 2"/>
          <p:cNvSpPr>
            <a:spLocks noGrp="1"/>
          </p:cNvSpPr>
          <p:nvPr>
            <p:ph idx="1"/>
          </p:nvPr>
        </p:nvSpPr>
        <p:spPr>
          <a:xfrm>
            <a:off x="504000" y="2527201"/>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8" name="Content Placeholder 2"/>
          <p:cNvSpPr>
            <a:spLocks noGrp="1"/>
          </p:cNvSpPr>
          <p:nvPr>
            <p:ph idx="13"/>
          </p:nvPr>
        </p:nvSpPr>
        <p:spPr>
          <a:xfrm>
            <a:off x="504000" y="4256075"/>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2861226133"/>
      </p:ext>
    </p:extLst>
  </p:cSld>
  <p:clrMapOvr>
    <a:masterClrMapping/>
  </p:clrMapOvr>
  <p:extLst>
    <p:ext uri="{DCECCB84-F9BA-43D5-87BE-67443E8EF086}">
      <p15:sldGuideLst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5"/>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5" name="Content Placeholder 2"/>
          <p:cNvSpPr>
            <a:spLocks noGrp="1"/>
          </p:cNvSpPr>
          <p:nvPr>
            <p:ph idx="1"/>
          </p:nvPr>
        </p:nvSpPr>
        <p:spPr>
          <a:xfrm>
            <a:off x="504000" y="2102401"/>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1275"/>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8" name="Picture Placeholder 3"/>
          <p:cNvSpPr>
            <a:spLocks noGrp="1"/>
          </p:cNvSpPr>
          <p:nvPr>
            <p:ph type="pic" sz="quarter" idx="14" hasCustomPrompt="1"/>
          </p:nvPr>
        </p:nvSpPr>
        <p:spPr>
          <a:xfrm>
            <a:off x="504000" y="2102401"/>
            <a:ext cx="1584000" cy="1583651"/>
          </a:xfrm>
          <a:ln w="15875">
            <a:solidFill>
              <a:srgbClr val="C8C8C8"/>
            </a:solidFill>
          </a:ln>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a:t>KLIKNUTÍM VLOŽÍTE NADPIS SNÍMKU </a:t>
            </a:r>
            <a:br>
              <a:rPr lang="cs-CZ"/>
            </a:br>
            <a:r>
              <a:rPr lang="cs-CZ"/>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a:t>Podtitulek</a:t>
            </a:r>
          </a:p>
        </p:txBody>
      </p:sp>
    </p:spTree>
    <p:extLst>
      <p:ext uri="{BB962C8B-B14F-4D97-AF65-F5344CB8AC3E}">
        <p14:creationId xmlns:p14="http://schemas.microsoft.com/office/powerpoint/2010/main" val="521675402"/>
      </p:ext>
    </p:extLst>
  </p:cSld>
  <p:clrMapOvr>
    <a:masterClrMapping/>
  </p:clrMapOvr>
  <p:extLst>
    <p:ext uri="{DCECCB84-F9BA-43D5-87BE-67443E8EF086}">
      <p15:sldGuideLst xmlns:p15="http://schemas.microsoft.com/office/powerpoint/2012/main">
        <p15:guide id="1" pos="317">
          <p15:clr>
            <a:srgbClr val="FBAE40"/>
          </p15:clr>
        </p15:guide>
        <p15:guide id="2" pos="54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a:t>Podtitulek</a:t>
            </a:r>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5"/>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
          </p:nvPr>
        </p:nvSpPr>
        <p:spPr>
          <a:xfrm>
            <a:off x="504000" y="2527201"/>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9" name="Picture Placeholder 3"/>
          <p:cNvSpPr>
            <a:spLocks noGrp="1"/>
          </p:cNvSpPr>
          <p:nvPr>
            <p:ph type="pic" sz="quarter" idx="15" hasCustomPrompt="1"/>
          </p:nvPr>
        </p:nvSpPr>
        <p:spPr>
          <a:xfrm>
            <a:off x="504000" y="4256075"/>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20" name="Picture Placeholder 3"/>
          <p:cNvSpPr>
            <a:spLocks noGrp="1"/>
          </p:cNvSpPr>
          <p:nvPr>
            <p:ph type="pic" sz="quarter" idx="14" hasCustomPrompt="1"/>
          </p:nvPr>
        </p:nvSpPr>
        <p:spPr>
          <a:xfrm>
            <a:off x="504000" y="2527201"/>
            <a:ext cx="1584000" cy="1583651"/>
          </a:xfrm>
          <a:ln w="15875">
            <a:solidFill>
              <a:srgbClr val="C8C8C8"/>
            </a:solidFill>
          </a:ln>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Tree>
    <p:extLst>
      <p:ext uri="{BB962C8B-B14F-4D97-AF65-F5344CB8AC3E}">
        <p14:creationId xmlns:p14="http://schemas.microsoft.com/office/powerpoint/2010/main" val="1955501143"/>
      </p:ext>
    </p:extLst>
  </p:cSld>
  <p:clrMapOvr>
    <a:masterClrMapping/>
  </p:clrMapOvr>
  <p:extLst>
    <p:ext uri="{DCECCB84-F9BA-43D5-87BE-67443E8EF086}">
      <p15:sldGuideLst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3999" y="2281178"/>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1"/>
            <a:ext cx="6546850" cy="6591300"/>
          </a:xfrm>
        </p:spPr>
        <p:txBody>
          <a:bodyPr/>
          <a:lstStyle>
            <a:lvl1pPr>
              <a:defRPr baseline="0"/>
            </a:lvl1pPr>
          </a:lstStyle>
          <a:p>
            <a:r>
              <a:rPr lang="cs-CZ" dirty="0"/>
              <a:t>Background Picture </a:t>
            </a:r>
            <a:r>
              <a:rPr lang="cs-CZ" dirty="0" err="1"/>
              <a:t>with</a:t>
            </a:r>
            <a:r>
              <a:rPr lang="cs-CZ" dirty="0"/>
              <a:t> Transparent  Background </a:t>
            </a:r>
            <a:r>
              <a:rPr lang="cs-CZ" dirty="0" err="1"/>
              <a:t>Color</a:t>
            </a:r>
            <a:endParaRPr lang="cs-CZ" dirty="0"/>
          </a:p>
        </p:txBody>
      </p: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a:t>Podtitulek</a:t>
            </a:r>
          </a:p>
        </p:txBody>
      </p:sp>
    </p:spTree>
    <p:extLst>
      <p:ext uri="{BB962C8B-B14F-4D97-AF65-F5344CB8AC3E}">
        <p14:creationId xmlns:p14="http://schemas.microsoft.com/office/powerpoint/2010/main" val="2824067990"/>
      </p:ext>
    </p:extLst>
  </p:cSld>
  <p:clrMapOvr>
    <a:masterClrMapping/>
  </p:clrMapOvr>
  <p:extLst>
    <p:ext uri="{DCECCB84-F9BA-43D5-87BE-67443E8EF086}">
      <p15:sldGuideLst xmlns:p15="http://schemas.microsoft.com/office/powerpoint/2012/main">
        <p15:guide id="1" pos="5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7"/>
            <a:ext cx="6546850" cy="6591300"/>
          </a:xfrm>
        </p:spPr>
        <p:txBody>
          <a:bodyPr/>
          <a:lstStyle>
            <a:lvl1pPr>
              <a:defRPr baseline="0"/>
            </a:lvl1pPr>
          </a:lstStyle>
          <a:p>
            <a:r>
              <a:rPr lang="cs-CZ" dirty="0"/>
              <a:t>Background Picture </a:t>
            </a:r>
            <a:r>
              <a:rPr lang="cs-CZ" dirty="0" err="1"/>
              <a:t>with</a:t>
            </a:r>
            <a:r>
              <a:rPr lang="cs-CZ" dirty="0"/>
              <a:t> Transparent  Background </a:t>
            </a:r>
            <a:r>
              <a:rPr lang="cs-CZ" dirty="0" err="1"/>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504000" y="2721202"/>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4181568060"/>
      </p:ext>
    </p:extLst>
  </p:cSld>
  <p:clrMapOvr>
    <a:masterClrMapping/>
  </p:clrMapOvr>
  <p:extLst>
    <p:ext uri="{DCECCB84-F9BA-43D5-87BE-67443E8EF086}">
      <p15:sldGuideLst xmlns:p15="http://schemas.microsoft.com/office/powerpoint/2012/main">
        <p15:guide id="1" orient="horz" pos="527">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řechodový sním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1190445"/>
            <a:ext cx="8136000" cy="5181555"/>
          </a:xfrm>
        </p:spPr>
        <p:txBody>
          <a:bodyPr/>
          <a:lstStyle>
            <a:lvl1pPr>
              <a:spcAft>
                <a:spcPts val="2000"/>
              </a:spcAft>
              <a:defRPr sz="2000" b="1"/>
            </a:lvl1pPr>
            <a:lvl2pPr>
              <a:buClr>
                <a:srgbClr val="F24F00"/>
              </a:buClr>
              <a:defRPr/>
            </a:lvl2pPr>
            <a:lvl3pPr>
              <a:buClr>
                <a:srgbClr val="C8C8C8"/>
              </a:buClr>
              <a:defRPr/>
            </a:lvl3pPr>
          </a:lstStyle>
          <a:p>
            <a:pPr lvl="0"/>
            <a:r>
              <a:rPr lang="cs-CZ" dirty="0"/>
              <a:t>Po kliknutí můžete vložit text</a:t>
            </a:r>
            <a:br>
              <a:rPr lang="cs-CZ" dirty="0"/>
            </a:b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spTree>
    <p:extLst>
      <p:ext uri="{BB962C8B-B14F-4D97-AF65-F5344CB8AC3E}">
        <p14:creationId xmlns:p14="http://schemas.microsoft.com/office/powerpoint/2010/main" val="2514268188"/>
      </p:ext>
    </p:extLst>
  </p:cSld>
  <p:clrMapOvr>
    <a:masterClrMapping/>
  </p:clrMapOvr>
  <p:extLst>
    <p:ext uri="{DCECCB84-F9BA-43D5-87BE-67443E8EF086}">
      <p15:sldGuideLst xmlns:p15="http://schemas.microsoft.com/office/powerpoint/2012/main">
        <p15:guide id="1" orient="horz" pos="527">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NADPIS </a:t>
            </a:r>
            <a:r>
              <a:rPr lang="cs-CZ"/>
              <a:t>SNÍMKU </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obsah – elektřin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NADPIS </a:t>
            </a:r>
            <a:r>
              <a:rPr lang="cs-CZ"/>
              <a:t>SNÍMKU – ELEKTŘINA</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2000"/>
            <a:ext cx="8136000" cy="3942645"/>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13" name="Skupina 12"/>
          <p:cNvGrpSpPr/>
          <p:nvPr userDrawn="1"/>
        </p:nvGrpSpPr>
        <p:grpSpPr>
          <a:xfrm>
            <a:off x="2" y="5540263"/>
            <a:ext cx="8676861" cy="766344"/>
            <a:chOff x="-19878" y="5540262"/>
            <a:chExt cx="8676861" cy="766344"/>
          </a:xfrm>
          <a:solidFill>
            <a:schemeClr val="accent1"/>
          </a:solidFill>
        </p:grpSpPr>
        <p:sp>
          <p:nvSpPr>
            <p:cNvPr id="10" name="Freeform 6"/>
            <p:cNvSpPr>
              <a:spLocks noEditPoints="1"/>
            </p:cNvSpPr>
            <p:nvPr userDrawn="1"/>
          </p:nvSpPr>
          <p:spPr bwMode="auto">
            <a:xfrm>
              <a:off x="7211238" y="5540262"/>
              <a:ext cx="1445745" cy="766344"/>
            </a:xfrm>
            <a:custGeom>
              <a:avLst/>
              <a:gdLst>
                <a:gd name="T0" fmla="*/ 3414 w 3493"/>
                <a:gd name="T1" fmla="*/ 1229 h 1852"/>
                <a:gd name="T2" fmla="*/ 3471 w 3493"/>
                <a:gd name="T3" fmla="*/ 1264 h 1852"/>
                <a:gd name="T4" fmla="*/ 3493 w 3493"/>
                <a:gd name="T5" fmla="*/ 1328 h 1852"/>
                <a:gd name="T6" fmla="*/ 3471 w 3493"/>
                <a:gd name="T7" fmla="*/ 1390 h 1852"/>
                <a:gd name="T8" fmla="*/ 3414 w 3493"/>
                <a:gd name="T9" fmla="*/ 1425 h 1852"/>
                <a:gd name="T10" fmla="*/ 2837 w 3493"/>
                <a:gd name="T11" fmla="*/ 1227 h 1852"/>
                <a:gd name="T12" fmla="*/ 3414 w 3493"/>
                <a:gd name="T13" fmla="*/ 427 h 1852"/>
                <a:gd name="T14" fmla="*/ 3471 w 3493"/>
                <a:gd name="T15" fmla="*/ 462 h 1852"/>
                <a:gd name="T16" fmla="*/ 3493 w 3493"/>
                <a:gd name="T17" fmla="*/ 526 h 1852"/>
                <a:gd name="T18" fmla="*/ 3471 w 3493"/>
                <a:gd name="T19" fmla="*/ 588 h 1852"/>
                <a:gd name="T20" fmla="*/ 3414 w 3493"/>
                <a:gd name="T21" fmla="*/ 623 h 1852"/>
                <a:gd name="T22" fmla="*/ 2837 w 3493"/>
                <a:gd name="T23" fmla="*/ 425 h 1852"/>
                <a:gd name="T24" fmla="*/ 2748 w 3493"/>
                <a:gd name="T25" fmla="*/ 1852 h 1852"/>
                <a:gd name="T26" fmla="*/ 2474 w 3493"/>
                <a:gd name="T27" fmla="*/ 1744 h 1852"/>
                <a:gd name="T28" fmla="*/ 2447 w 3493"/>
                <a:gd name="T29" fmla="*/ 1688 h 1852"/>
                <a:gd name="T30" fmla="*/ 2385 w 3493"/>
                <a:gd name="T31" fmla="*/ 1655 h 1852"/>
                <a:gd name="T32" fmla="*/ 2261 w 3493"/>
                <a:gd name="T33" fmla="*/ 1635 h 1852"/>
                <a:gd name="T34" fmla="*/ 2087 w 3493"/>
                <a:gd name="T35" fmla="*/ 1612 h 1852"/>
                <a:gd name="T36" fmla="*/ 1909 w 3493"/>
                <a:gd name="T37" fmla="*/ 1587 h 1852"/>
                <a:gd name="T38" fmla="*/ 1761 w 3493"/>
                <a:gd name="T39" fmla="*/ 1568 h 1852"/>
                <a:gd name="T40" fmla="*/ 1622 w 3493"/>
                <a:gd name="T41" fmla="*/ 1543 h 1852"/>
                <a:gd name="T42" fmla="*/ 1525 w 3493"/>
                <a:gd name="T43" fmla="*/ 1506 h 1852"/>
                <a:gd name="T44" fmla="*/ 1455 w 3493"/>
                <a:gd name="T45" fmla="*/ 1454 h 1852"/>
                <a:gd name="T46" fmla="*/ 1391 w 3493"/>
                <a:gd name="T47" fmla="*/ 1382 h 1852"/>
                <a:gd name="T48" fmla="*/ 1348 w 3493"/>
                <a:gd name="T49" fmla="*/ 1312 h 1852"/>
                <a:gd name="T50" fmla="*/ 1302 w 3493"/>
                <a:gd name="T51" fmla="*/ 1228 h 1852"/>
                <a:gd name="T52" fmla="*/ 1249 w 3493"/>
                <a:gd name="T53" fmla="*/ 1144 h 1852"/>
                <a:gd name="T54" fmla="*/ 1184 w 3493"/>
                <a:gd name="T55" fmla="*/ 1073 h 1852"/>
                <a:gd name="T56" fmla="*/ 1101 w 3493"/>
                <a:gd name="T57" fmla="*/ 1028 h 1852"/>
                <a:gd name="T58" fmla="*/ 0 w 3493"/>
                <a:gd name="T59" fmla="*/ 1018 h 1852"/>
                <a:gd name="T60" fmla="*/ 1068 w 3493"/>
                <a:gd name="T61" fmla="*/ 832 h 1852"/>
                <a:gd name="T62" fmla="*/ 1159 w 3493"/>
                <a:gd name="T63" fmla="*/ 798 h 1852"/>
                <a:gd name="T64" fmla="*/ 1229 w 3493"/>
                <a:gd name="T65" fmla="*/ 734 h 1852"/>
                <a:gd name="T66" fmla="*/ 1285 w 3493"/>
                <a:gd name="T67" fmla="*/ 653 h 1852"/>
                <a:gd name="T68" fmla="*/ 1333 w 3493"/>
                <a:gd name="T69" fmla="*/ 568 h 1852"/>
                <a:gd name="T70" fmla="*/ 1376 w 3493"/>
                <a:gd name="T71" fmla="*/ 492 h 1852"/>
                <a:gd name="T72" fmla="*/ 1433 w 3493"/>
                <a:gd name="T73" fmla="*/ 421 h 1852"/>
                <a:gd name="T74" fmla="*/ 1500 w 3493"/>
                <a:gd name="T75" fmla="*/ 362 h 1852"/>
                <a:gd name="T76" fmla="*/ 1586 w 3493"/>
                <a:gd name="T77" fmla="*/ 321 h 1852"/>
                <a:gd name="T78" fmla="*/ 1708 w 3493"/>
                <a:gd name="T79" fmla="*/ 293 h 1852"/>
                <a:gd name="T80" fmla="*/ 1854 w 3493"/>
                <a:gd name="T81" fmla="*/ 272 h 1852"/>
                <a:gd name="T82" fmla="*/ 2027 w 3493"/>
                <a:gd name="T83" fmla="*/ 249 h 1852"/>
                <a:gd name="T84" fmla="*/ 2206 w 3493"/>
                <a:gd name="T85" fmla="*/ 225 h 1852"/>
                <a:gd name="T86" fmla="*/ 2355 w 3493"/>
                <a:gd name="T87" fmla="*/ 204 h 1852"/>
                <a:gd name="T88" fmla="*/ 2431 w 3493"/>
                <a:gd name="T89" fmla="*/ 178 h 1852"/>
                <a:gd name="T90" fmla="*/ 2468 w 3493"/>
                <a:gd name="T91" fmla="*/ 129 h 1852"/>
                <a:gd name="T92" fmla="*/ 2475 w 3493"/>
                <a:gd name="T9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93" h="1852">
                  <a:moveTo>
                    <a:pt x="2837" y="1227"/>
                  </a:moveTo>
                  <a:lnTo>
                    <a:pt x="3392" y="1227"/>
                  </a:lnTo>
                  <a:lnTo>
                    <a:pt x="3414" y="1229"/>
                  </a:lnTo>
                  <a:lnTo>
                    <a:pt x="3436" y="1236"/>
                  </a:lnTo>
                  <a:lnTo>
                    <a:pt x="3455" y="1248"/>
                  </a:lnTo>
                  <a:lnTo>
                    <a:pt x="3471" y="1264"/>
                  </a:lnTo>
                  <a:lnTo>
                    <a:pt x="3482" y="1283"/>
                  </a:lnTo>
                  <a:lnTo>
                    <a:pt x="3490" y="1304"/>
                  </a:lnTo>
                  <a:lnTo>
                    <a:pt x="3493" y="1328"/>
                  </a:lnTo>
                  <a:lnTo>
                    <a:pt x="3490" y="1350"/>
                  </a:lnTo>
                  <a:lnTo>
                    <a:pt x="3482" y="1371"/>
                  </a:lnTo>
                  <a:lnTo>
                    <a:pt x="3471" y="1390"/>
                  </a:lnTo>
                  <a:lnTo>
                    <a:pt x="3455" y="1406"/>
                  </a:lnTo>
                  <a:lnTo>
                    <a:pt x="3436" y="1418"/>
                  </a:lnTo>
                  <a:lnTo>
                    <a:pt x="3414" y="1425"/>
                  </a:lnTo>
                  <a:lnTo>
                    <a:pt x="3392" y="1428"/>
                  </a:lnTo>
                  <a:lnTo>
                    <a:pt x="2837" y="1428"/>
                  </a:lnTo>
                  <a:lnTo>
                    <a:pt x="2837" y="1227"/>
                  </a:lnTo>
                  <a:close/>
                  <a:moveTo>
                    <a:pt x="2837" y="425"/>
                  </a:moveTo>
                  <a:lnTo>
                    <a:pt x="3392" y="425"/>
                  </a:lnTo>
                  <a:lnTo>
                    <a:pt x="3414" y="427"/>
                  </a:lnTo>
                  <a:lnTo>
                    <a:pt x="3436" y="434"/>
                  </a:lnTo>
                  <a:lnTo>
                    <a:pt x="3455" y="446"/>
                  </a:lnTo>
                  <a:lnTo>
                    <a:pt x="3471" y="462"/>
                  </a:lnTo>
                  <a:lnTo>
                    <a:pt x="3482" y="481"/>
                  </a:lnTo>
                  <a:lnTo>
                    <a:pt x="3490" y="502"/>
                  </a:lnTo>
                  <a:lnTo>
                    <a:pt x="3493" y="526"/>
                  </a:lnTo>
                  <a:lnTo>
                    <a:pt x="3490" y="548"/>
                  </a:lnTo>
                  <a:lnTo>
                    <a:pt x="3482" y="569"/>
                  </a:lnTo>
                  <a:lnTo>
                    <a:pt x="3471" y="588"/>
                  </a:lnTo>
                  <a:lnTo>
                    <a:pt x="3455" y="604"/>
                  </a:lnTo>
                  <a:lnTo>
                    <a:pt x="3436" y="616"/>
                  </a:lnTo>
                  <a:lnTo>
                    <a:pt x="3414" y="623"/>
                  </a:lnTo>
                  <a:lnTo>
                    <a:pt x="3392" y="626"/>
                  </a:lnTo>
                  <a:lnTo>
                    <a:pt x="2837" y="626"/>
                  </a:lnTo>
                  <a:lnTo>
                    <a:pt x="2837" y="425"/>
                  </a:lnTo>
                  <a:close/>
                  <a:moveTo>
                    <a:pt x="2475" y="0"/>
                  </a:moveTo>
                  <a:lnTo>
                    <a:pt x="2748" y="0"/>
                  </a:lnTo>
                  <a:lnTo>
                    <a:pt x="2748" y="1852"/>
                  </a:lnTo>
                  <a:lnTo>
                    <a:pt x="2475" y="1852"/>
                  </a:lnTo>
                  <a:lnTo>
                    <a:pt x="2475" y="1768"/>
                  </a:lnTo>
                  <a:lnTo>
                    <a:pt x="2474" y="1744"/>
                  </a:lnTo>
                  <a:lnTo>
                    <a:pt x="2468" y="1723"/>
                  </a:lnTo>
                  <a:lnTo>
                    <a:pt x="2460" y="1705"/>
                  </a:lnTo>
                  <a:lnTo>
                    <a:pt x="2447" y="1688"/>
                  </a:lnTo>
                  <a:lnTo>
                    <a:pt x="2431" y="1674"/>
                  </a:lnTo>
                  <a:lnTo>
                    <a:pt x="2410" y="1663"/>
                  </a:lnTo>
                  <a:lnTo>
                    <a:pt x="2385" y="1655"/>
                  </a:lnTo>
                  <a:lnTo>
                    <a:pt x="2355" y="1649"/>
                  </a:lnTo>
                  <a:lnTo>
                    <a:pt x="2311" y="1642"/>
                  </a:lnTo>
                  <a:lnTo>
                    <a:pt x="2261" y="1635"/>
                  </a:lnTo>
                  <a:lnTo>
                    <a:pt x="2206" y="1627"/>
                  </a:lnTo>
                  <a:lnTo>
                    <a:pt x="2147" y="1620"/>
                  </a:lnTo>
                  <a:lnTo>
                    <a:pt x="2087" y="1612"/>
                  </a:lnTo>
                  <a:lnTo>
                    <a:pt x="2027" y="1603"/>
                  </a:lnTo>
                  <a:lnTo>
                    <a:pt x="1967" y="1596"/>
                  </a:lnTo>
                  <a:lnTo>
                    <a:pt x="1909" y="1587"/>
                  </a:lnTo>
                  <a:lnTo>
                    <a:pt x="1854" y="1581"/>
                  </a:lnTo>
                  <a:lnTo>
                    <a:pt x="1804" y="1573"/>
                  </a:lnTo>
                  <a:lnTo>
                    <a:pt x="1761" y="1568"/>
                  </a:lnTo>
                  <a:lnTo>
                    <a:pt x="1708" y="1561"/>
                  </a:lnTo>
                  <a:lnTo>
                    <a:pt x="1662" y="1552"/>
                  </a:lnTo>
                  <a:lnTo>
                    <a:pt x="1622" y="1543"/>
                  </a:lnTo>
                  <a:lnTo>
                    <a:pt x="1586" y="1532"/>
                  </a:lnTo>
                  <a:lnTo>
                    <a:pt x="1554" y="1519"/>
                  </a:lnTo>
                  <a:lnTo>
                    <a:pt x="1525" y="1506"/>
                  </a:lnTo>
                  <a:lnTo>
                    <a:pt x="1500" y="1491"/>
                  </a:lnTo>
                  <a:lnTo>
                    <a:pt x="1477" y="1473"/>
                  </a:lnTo>
                  <a:lnTo>
                    <a:pt x="1455" y="1454"/>
                  </a:lnTo>
                  <a:lnTo>
                    <a:pt x="1433" y="1432"/>
                  </a:lnTo>
                  <a:lnTo>
                    <a:pt x="1413" y="1408"/>
                  </a:lnTo>
                  <a:lnTo>
                    <a:pt x="1391" y="1382"/>
                  </a:lnTo>
                  <a:lnTo>
                    <a:pt x="1376" y="1360"/>
                  </a:lnTo>
                  <a:lnTo>
                    <a:pt x="1361" y="1337"/>
                  </a:lnTo>
                  <a:lnTo>
                    <a:pt x="1348" y="1312"/>
                  </a:lnTo>
                  <a:lnTo>
                    <a:pt x="1333" y="1284"/>
                  </a:lnTo>
                  <a:lnTo>
                    <a:pt x="1317" y="1257"/>
                  </a:lnTo>
                  <a:lnTo>
                    <a:pt x="1302" y="1228"/>
                  </a:lnTo>
                  <a:lnTo>
                    <a:pt x="1285" y="1199"/>
                  </a:lnTo>
                  <a:lnTo>
                    <a:pt x="1268" y="1172"/>
                  </a:lnTo>
                  <a:lnTo>
                    <a:pt x="1249" y="1144"/>
                  </a:lnTo>
                  <a:lnTo>
                    <a:pt x="1229" y="1119"/>
                  </a:lnTo>
                  <a:lnTo>
                    <a:pt x="1208" y="1095"/>
                  </a:lnTo>
                  <a:lnTo>
                    <a:pt x="1184" y="1073"/>
                  </a:lnTo>
                  <a:lnTo>
                    <a:pt x="1159" y="1054"/>
                  </a:lnTo>
                  <a:lnTo>
                    <a:pt x="1131" y="1039"/>
                  </a:lnTo>
                  <a:lnTo>
                    <a:pt x="1101" y="1028"/>
                  </a:lnTo>
                  <a:lnTo>
                    <a:pt x="1068" y="1020"/>
                  </a:lnTo>
                  <a:lnTo>
                    <a:pt x="1032" y="1018"/>
                  </a:lnTo>
                  <a:lnTo>
                    <a:pt x="0" y="1018"/>
                  </a:lnTo>
                  <a:lnTo>
                    <a:pt x="0" y="835"/>
                  </a:lnTo>
                  <a:lnTo>
                    <a:pt x="1032" y="835"/>
                  </a:lnTo>
                  <a:lnTo>
                    <a:pt x="1068" y="832"/>
                  </a:lnTo>
                  <a:lnTo>
                    <a:pt x="1101" y="824"/>
                  </a:lnTo>
                  <a:lnTo>
                    <a:pt x="1131" y="813"/>
                  </a:lnTo>
                  <a:lnTo>
                    <a:pt x="1159" y="798"/>
                  </a:lnTo>
                  <a:lnTo>
                    <a:pt x="1184" y="779"/>
                  </a:lnTo>
                  <a:lnTo>
                    <a:pt x="1208" y="758"/>
                  </a:lnTo>
                  <a:lnTo>
                    <a:pt x="1229" y="734"/>
                  </a:lnTo>
                  <a:lnTo>
                    <a:pt x="1249" y="708"/>
                  </a:lnTo>
                  <a:lnTo>
                    <a:pt x="1268" y="681"/>
                  </a:lnTo>
                  <a:lnTo>
                    <a:pt x="1285" y="653"/>
                  </a:lnTo>
                  <a:lnTo>
                    <a:pt x="1302" y="624"/>
                  </a:lnTo>
                  <a:lnTo>
                    <a:pt x="1317" y="596"/>
                  </a:lnTo>
                  <a:lnTo>
                    <a:pt x="1333" y="568"/>
                  </a:lnTo>
                  <a:lnTo>
                    <a:pt x="1348" y="541"/>
                  </a:lnTo>
                  <a:lnTo>
                    <a:pt x="1361" y="516"/>
                  </a:lnTo>
                  <a:lnTo>
                    <a:pt x="1376" y="492"/>
                  </a:lnTo>
                  <a:lnTo>
                    <a:pt x="1391" y="471"/>
                  </a:lnTo>
                  <a:lnTo>
                    <a:pt x="1413" y="444"/>
                  </a:lnTo>
                  <a:lnTo>
                    <a:pt x="1433" y="421"/>
                  </a:lnTo>
                  <a:lnTo>
                    <a:pt x="1455" y="398"/>
                  </a:lnTo>
                  <a:lnTo>
                    <a:pt x="1477" y="379"/>
                  </a:lnTo>
                  <a:lnTo>
                    <a:pt x="1500" y="362"/>
                  </a:lnTo>
                  <a:lnTo>
                    <a:pt x="1525" y="347"/>
                  </a:lnTo>
                  <a:lnTo>
                    <a:pt x="1554" y="333"/>
                  </a:lnTo>
                  <a:lnTo>
                    <a:pt x="1586" y="321"/>
                  </a:lnTo>
                  <a:lnTo>
                    <a:pt x="1622" y="311"/>
                  </a:lnTo>
                  <a:lnTo>
                    <a:pt x="1662" y="301"/>
                  </a:lnTo>
                  <a:lnTo>
                    <a:pt x="1708" y="293"/>
                  </a:lnTo>
                  <a:lnTo>
                    <a:pt x="1761" y="285"/>
                  </a:lnTo>
                  <a:lnTo>
                    <a:pt x="1804" y="279"/>
                  </a:lnTo>
                  <a:lnTo>
                    <a:pt x="1854" y="272"/>
                  </a:lnTo>
                  <a:lnTo>
                    <a:pt x="1909" y="265"/>
                  </a:lnTo>
                  <a:lnTo>
                    <a:pt x="1967" y="258"/>
                  </a:lnTo>
                  <a:lnTo>
                    <a:pt x="2027" y="249"/>
                  </a:lnTo>
                  <a:lnTo>
                    <a:pt x="2087" y="241"/>
                  </a:lnTo>
                  <a:lnTo>
                    <a:pt x="2147" y="233"/>
                  </a:lnTo>
                  <a:lnTo>
                    <a:pt x="2206" y="225"/>
                  </a:lnTo>
                  <a:lnTo>
                    <a:pt x="2261" y="217"/>
                  </a:lnTo>
                  <a:lnTo>
                    <a:pt x="2311" y="210"/>
                  </a:lnTo>
                  <a:lnTo>
                    <a:pt x="2355" y="204"/>
                  </a:lnTo>
                  <a:lnTo>
                    <a:pt x="2385" y="198"/>
                  </a:lnTo>
                  <a:lnTo>
                    <a:pt x="2410" y="190"/>
                  </a:lnTo>
                  <a:lnTo>
                    <a:pt x="2431" y="178"/>
                  </a:lnTo>
                  <a:lnTo>
                    <a:pt x="2447" y="164"/>
                  </a:lnTo>
                  <a:lnTo>
                    <a:pt x="2460" y="148"/>
                  </a:lnTo>
                  <a:lnTo>
                    <a:pt x="2468" y="129"/>
                  </a:lnTo>
                  <a:lnTo>
                    <a:pt x="2474" y="108"/>
                  </a:lnTo>
                  <a:lnTo>
                    <a:pt x="2475" y="85"/>
                  </a:lnTo>
                  <a:lnTo>
                    <a:pt x="2475" y="0"/>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endParaRPr lang="cs-CZ"/>
            </a:p>
          </p:txBody>
        </p:sp>
        <p:sp>
          <p:nvSpPr>
            <p:cNvPr id="11" name="Obdélník 10"/>
            <p:cNvSpPr/>
            <p:nvPr userDrawn="1"/>
          </p:nvSpPr>
          <p:spPr bwMode="auto">
            <a:xfrm>
              <a:off x="-19878" y="5885444"/>
              <a:ext cx="7798814" cy="78624"/>
            </a:xfrm>
            <a:prstGeom prst="rect">
              <a:avLst/>
            </a:prstGeom>
            <a:grp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grpSp>
    </p:spTree>
    <p:extLst>
      <p:ext uri="{BB962C8B-B14F-4D97-AF65-F5344CB8AC3E}">
        <p14:creationId xmlns:p14="http://schemas.microsoft.com/office/powerpoint/2010/main" val="2562031177"/>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obsah – ply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a:t>
            </a:r>
            <a:r>
              <a:rPr lang="cs-CZ"/>
              <a:t>NADPIS SNÍMKU – plyn </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2001"/>
            <a:ext cx="8136000" cy="4634484"/>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3" name="Freeform 6"/>
          <p:cNvSpPr>
            <a:spLocks/>
          </p:cNvSpPr>
          <p:nvPr userDrawn="1"/>
        </p:nvSpPr>
        <p:spPr bwMode="auto">
          <a:xfrm>
            <a:off x="7919724" y="4637975"/>
            <a:ext cx="720627" cy="1688511"/>
          </a:xfrm>
          <a:custGeom>
            <a:avLst/>
            <a:gdLst>
              <a:gd name="T0" fmla="*/ 894 w 1772"/>
              <a:gd name="T1" fmla="*/ 11 h 4152"/>
              <a:gd name="T2" fmla="*/ 928 w 1772"/>
              <a:gd name="T3" fmla="*/ 70 h 4152"/>
              <a:gd name="T4" fmla="*/ 987 w 1772"/>
              <a:gd name="T5" fmla="*/ 175 h 4152"/>
              <a:gd name="T6" fmla="*/ 1066 w 1772"/>
              <a:gd name="T7" fmla="*/ 319 h 4152"/>
              <a:gd name="T8" fmla="*/ 1158 w 1772"/>
              <a:gd name="T9" fmla="*/ 499 h 4152"/>
              <a:gd name="T10" fmla="*/ 1259 w 1772"/>
              <a:gd name="T11" fmla="*/ 709 h 4152"/>
              <a:gd name="T12" fmla="*/ 1364 w 1772"/>
              <a:gd name="T13" fmla="*/ 945 h 4152"/>
              <a:gd name="T14" fmla="*/ 1467 w 1772"/>
              <a:gd name="T15" fmla="*/ 1200 h 4152"/>
              <a:gd name="T16" fmla="*/ 1563 w 1772"/>
              <a:gd name="T17" fmla="*/ 1471 h 4152"/>
              <a:gd name="T18" fmla="*/ 1646 w 1772"/>
              <a:gd name="T19" fmla="*/ 1752 h 4152"/>
              <a:gd name="T20" fmla="*/ 1713 w 1772"/>
              <a:gd name="T21" fmla="*/ 2039 h 4152"/>
              <a:gd name="T22" fmla="*/ 1757 w 1772"/>
              <a:gd name="T23" fmla="*/ 2325 h 4152"/>
              <a:gd name="T24" fmla="*/ 1772 w 1772"/>
              <a:gd name="T25" fmla="*/ 2608 h 4152"/>
              <a:gd name="T26" fmla="*/ 1756 w 1772"/>
              <a:gd name="T27" fmla="*/ 2992 h 4152"/>
              <a:gd name="T28" fmla="*/ 1710 w 1772"/>
              <a:gd name="T29" fmla="*/ 3319 h 4152"/>
              <a:gd name="T30" fmla="*/ 1638 w 1772"/>
              <a:gd name="T31" fmla="*/ 3594 h 4152"/>
              <a:gd name="T32" fmla="*/ 1543 w 1772"/>
              <a:gd name="T33" fmla="*/ 3817 h 4152"/>
              <a:gd name="T34" fmla="*/ 1425 w 1772"/>
              <a:gd name="T35" fmla="*/ 3991 h 4152"/>
              <a:gd name="T36" fmla="*/ 1291 w 1772"/>
              <a:gd name="T37" fmla="*/ 4119 h 4152"/>
              <a:gd name="T38" fmla="*/ 1311 w 1772"/>
              <a:gd name="T39" fmla="*/ 3981 h 4152"/>
              <a:gd name="T40" fmla="*/ 1388 w 1772"/>
              <a:gd name="T41" fmla="*/ 3695 h 4152"/>
              <a:gd name="T42" fmla="*/ 1418 w 1772"/>
              <a:gd name="T43" fmla="*/ 3384 h 4152"/>
              <a:gd name="T44" fmla="*/ 1398 w 1772"/>
              <a:gd name="T45" fmla="*/ 3133 h 4152"/>
              <a:gd name="T46" fmla="*/ 1346 w 1772"/>
              <a:gd name="T47" fmla="*/ 2897 h 4152"/>
              <a:gd name="T48" fmla="*/ 1270 w 1772"/>
              <a:gd name="T49" fmla="*/ 2681 h 4152"/>
              <a:gd name="T50" fmla="*/ 1182 w 1772"/>
              <a:gd name="T51" fmla="*/ 2489 h 4152"/>
              <a:gd name="T52" fmla="*/ 1091 w 1772"/>
              <a:gd name="T53" fmla="*/ 2325 h 4152"/>
              <a:gd name="T54" fmla="*/ 1006 w 1772"/>
              <a:gd name="T55" fmla="*/ 2194 h 4152"/>
              <a:gd name="T56" fmla="*/ 938 w 1772"/>
              <a:gd name="T57" fmla="*/ 2101 h 4152"/>
              <a:gd name="T58" fmla="*/ 895 w 1772"/>
              <a:gd name="T59" fmla="*/ 2048 h 4152"/>
              <a:gd name="T60" fmla="*/ 883 w 1772"/>
              <a:gd name="T61" fmla="*/ 2039 h 4152"/>
              <a:gd name="T62" fmla="*/ 852 w 1772"/>
              <a:gd name="T63" fmla="*/ 2078 h 4152"/>
              <a:gd name="T64" fmla="*/ 791 w 1772"/>
              <a:gd name="T65" fmla="*/ 2159 h 4152"/>
              <a:gd name="T66" fmla="*/ 711 w 1772"/>
              <a:gd name="T67" fmla="*/ 2279 h 4152"/>
              <a:gd name="T68" fmla="*/ 620 w 1772"/>
              <a:gd name="T69" fmla="*/ 2431 h 4152"/>
              <a:gd name="T70" fmla="*/ 529 w 1772"/>
              <a:gd name="T71" fmla="*/ 2614 h 4152"/>
              <a:gd name="T72" fmla="*/ 449 w 1772"/>
              <a:gd name="T73" fmla="*/ 2823 h 4152"/>
              <a:gd name="T74" fmla="*/ 388 w 1772"/>
              <a:gd name="T75" fmla="*/ 3052 h 4152"/>
              <a:gd name="T76" fmla="*/ 357 w 1772"/>
              <a:gd name="T77" fmla="*/ 3298 h 4152"/>
              <a:gd name="T78" fmla="*/ 368 w 1772"/>
              <a:gd name="T79" fmla="*/ 3594 h 4152"/>
              <a:gd name="T80" fmla="*/ 432 w 1772"/>
              <a:gd name="T81" fmla="*/ 3889 h 4152"/>
              <a:gd name="T82" fmla="*/ 529 w 1772"/>
              <a:gd name="T83" fmla="*/ 4152 h 4152"/>
              <a:gd name="T84" fmla="*/ 389 w 1772"/>
              <a:gd name="T85" fmla="*/ 4039 h 4152"/>
              <a:gd name="T86" fmla="*/ 266 w 1772"/>
              <a:gd name="T87" fmla="*/ 3880 h 4152"/>
              <a:gd name="T88" fmla="*/ 163 w 1772"/>
              <a:gd name="T89" fmla="*/ 3673 h 4152"/>
              <a:gd name="T90" fmla="*/ 82 w 1772"/>
              <a:gd name="T91" fmla="*/ 3416 h 4152"/>
              <a:gd name="T92" fmla="*/ 28 w 1772"/>
              <a:gd name="T93" fmla="*/ 3106 h 4152"/>
              <a:gd name="T94" fmla="*/ 1 w 1772"/>
              <a:gd name="T95" fmla="*/ 2742 h 4152"/>
              <a:gd name="T96" fmla="*/ 6 w 1772"/>
              <a:gd name="T97" fmla="*/ 2421 h 4152"/>
              <a:gd name="T98" fmla="*/ 42 w 1772"/>
              <a:gd name="T99" fmla="*/ 2135 h 4152"/>
              <a:gd name="T100" fmla="*/ 101 w 1772"/>
              <a:gd name="T101" fmla="*/ 1848 h 4152"/>
              <a:gd name="T102" fmla="*/ 179 w 1772"/>
              <a:gd name="T103" fmla="*/ 1564 h 4152"/>
              <a:gd name="T104" fmla="*/ 272 w 1772"/>
              <a:gd name="T105" fmla="*/ 1289 h 4152"/>
              <a:gd name="T106" fmla="*/ 373 w 1772"/>
              <a:gd name="T107" fmla="*/ 1028 h 4152"/>
              <a:gd name="T108" fmla="*/ 478 w 1772"/>
              <a:gd name="T109" fmla="*/ 785 h 4152"/>
              <a:gd name="T110" fmla="*/ 581 w 1772"/>
              <a:gd name="T111" fmla="*/ 565 h 4152"/>
              <a:gd name="T112" fmla="*/ 677 w 1772"/>
              <a:gd name="T113" fmla="*/ 375 h 4152"/>
              <a:gd name="T114" fmla="*/ 760 w 1772"/>
              <a:gd name="T115" fmla="*/ 219 h 4152"/>
              <a:gd name="T116" fmla="*/ 827 w 1772"/>
              <a:gd name="T117" fmla="*/ 101 h 4152"/>
              <a:gd name="T118" fmla="*/ 870 w 1772"/>
              <a:gd name="T119" fmla="*/ 26 h 4152"/>
              <a:gd name="T120" fmla="*/ 885 w 1772"/>
              <a:gd name="T121" fmla="*/ 0 h 4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4152">
                <a:moveTo>
                  <a:pt x="885" y="0"/>
                </a:moveTo>
                <a:lnTo>
                  <a:pt x="887" y="2"/>
                </a:lnTo>
                <a:lnTo>
                  <a:pt x="894" y="11"/>
                </a:lnTo>
                <a:lnTo>
                  <a:pt x="901" y="26"/>
                </a:lnTo>
                <a:lnTo>
                  <a:pt x="914" y="45"/>
                </a:lnTo>
                <a:lnTo>
                  <a:pt x="928" y="70"/>
                </a:lnTo>
                <a:lnTo>
                  <a:pt x="945" y="101"/>
                </a:lnTo>
                <a:lnTo>
                  <a:pt x="965" y="135"/>
                </a:lnTo>
                <a:lnTo>
                  <a:pt x="987" y="175"/>
                </a:lnTo>
                <a:lnTo>
                  <a:pt x="1012" y="219"/>
                </a:lnTo>
                <a:lnTo>
                  <a:pt x="1037" y="267"/>
                </a:lnTo>
                <a:lnTo>
                  <a:pt x="1066" y="319"/>
                </a:lnTo>
                <a:lnTo>
                  <a:pt x="1095" y="375"/>
                </a:lnTo>
                <a:lnTo>
                  <a:pt x="1127" y="436"/>
                </a:lnTo>
                <a:lnTo>
                  <a:pt x="1158" y="499"/>
                </a:lnTo>
                <a:lnTo>
                  <a:pt x="1191" y="565"/>
                </a:lnTo>
                <a:lnTo>
                  <a:pt x="1225" y="636"/>
                </a:lnTo>
                <a:lnTo>
                  <a:pt x="1259" y="709"/>
                </a:lnTo>
                <a:lnTo>
                  <a:pt x="1294" y="785"/>
                </a:lnTo>
                <a:lnTo>
                  <a:pt x="1328" y="864"/>
                </a:lnTo>
                <a:lnTo>
                  <a:pt x="1364" y="945"/>
                </a:lnTo>
                <a:lnTo>
                  <a:pt x="1399" y="1028"/>
                </a:lnTo>
                <a:lnTo>
                  <a:pt x="1433" y="1113"/>
                </a:lnTo>
                <a:lnTo>
                  <a:pt x="1467" y="1200"/>
                </a:lnTo>
                <a:lnTo>
                  <a:pt x="1500" y="1289"/>
                </a:lnTo>
                <a:lnTo>
                  <a:pt x="1531" y="1379"/>
                </a:lnTo>
                <a:lnTo>
                  <a:pt x="1563" y="1471"/>
                </a:lnTo>
                <a:lnTo>
                  <a:pt x="1592" y="1564"/>
                </a:lnTo>
                <a:lnTo>
                  <a:pt x="1621" y="1658"/>
                </a:lnTo>
                <a:lnTo>
                  <a:pt x="1646" y="1752"/>
                </a:lnTo>
                <a:lnTo>
                  <a:pt x="1671" y="1848"/>
                </a:lnTo>
                <a:lnTo>
                  <a:pt x="1693" y="1944"/>
                </a:lnTo>
                <a:lnTo>
                  <a:pt x="1713" y="2039"/>
                </a:lnTo>
                <a:lnTo>
                  <a:pt x="1730" y="2135"/>
                </a:lnTo>
                <a:lnTo>
                  <a:pt x="1744" y="2231"/>
                </a:lnTo>
                <a:lnTo>
                  <a:pt x="1757" y="2325"/>
                </a:lnTo>
                <a:lnTo>
                  <a:pt x="1764" y="2421"/>
                </a:lnTo>
                <a:lnTo>
                  <a:pt x="1771" y="2514"/>
                </a:lnTo>
                <a:lnTo>
                  <a:pt x="1772" y="2608"/>
                </a:lnTo>
                <a:lnTo>
                  <a:pt x="1771" y="2742"/>
                </a:lnTo>
                <a:lnTo>
                  <a:pt x="1764" y="2870"/>
                </a:lnTo>
                <a:lnTo>
                  <a:pt x="1756" y="2992"/>
                </a:lnTo>
                <a:lnTo>
                  <a:pt x="1744" y="3106"/>
                </a:lnTo>
                <a:lnTo>
                  <a:pt x="1729" y="3216"/>
                </a:lnTo>
                <a:lnTo>
                  <a:pt x="1710" y="3319"/>
                </a:lnTo>
                <a:lnTo>
                  <a:pt x="1689" y="3416"/>
                </a:lnTo>
                <a:lnTo>
                  <a:pt x="1665" y="3508"/>
                </a:lnTo>
                <a:lnTo>
                  <a:pt x="1638" y="3594"/>
                </a:lnTo>
                <a:lnTo>
                  <a:pt x="1609" y="3673"/>
                </a:lnTo>
                <a:lnTo>
                  <a:pt x="1577" y="3748"/>
                </a:lnTo>
                <a:lnTo>
                  <a:pt x="1543" y="3817"/>
                </a:lnTo>
                <a:lnTo>
                  <a:pt x="1505" y="3880"/>
                </a:lnTo>
                <a:lnTo>
                  <a:pt x="1467" y="3939"/>
                </a:lnTo>
                <a:lnTo>
                  <a:pt x="1425" y="3991"/>
                </a:lnTo>
                <a:lnTo>
                  <a:pt x="1383" y="4039"/>
                </a:lnTo>
                <a:lnTo>
                  <a:pt x="1337" y="4081"/>
                </a:lnTo>
                <a:lnTo>
                  <a:pt x="1291" y="4119"/>
                </a:lnTo>
                <a:lnTo>
                  <a:pt x="1241" y="4152"/>
                </a:lnTo>
                <a:lnTo>
                  <a:pt x="1277" y="4068"/>
                </a:lnTo>
                <a:lnTo>
                  <a:pt x="1311" y="3981"/>
                </a:lnTo>
                <a:lnTo>
                  <a:pt x="1340" y="3889"/>
                </a:lnTo>
                <a:lnTo>
                  <a:pt x="1366" y="3793"/>
                </a:lnTo>
                <a:lnTo>
                  <a:pt x="1388" y="3695"/>
                </a:lnTo>
                <a:lnTo>
                  <a:pt x="1404" y="3594"/>
                </a:lnTo>
                <a:lnTo>
                  <a:pt x="1414" y="3489"/>
                </a:lnTo>
                <a:lnTo>
                  <a:pt x="1418" y="3384"/>
                </a:lnTo>
                <a:lnTo>
                  <a:pt x="1415" y="3298"/>
                </a:lnTo>
                <a:lnTo>
                  <a:pt x="1409" y="3215"/>
                </a:lnTo>
                <a:lnTo>
                  <a:pt x="1398" y="3133"/>
                </a:lnTo>
                <a:lnTo>
                  <a:pt x="1384" y="3052"/>
                </a:lnTo>
                <a:lnTo>
                  <a:pt x="1366" y="2973"/>
                </a:lnTo>
                <a:lnTo>
                  <a:pt x="1346" y="2897"/>
                </a:lnTo>
                <a:lnTo>
                  <a:pt x="1323" y="2823"/>
                </a:lnTo>
                <a:lnTo>
                  <a:pt x="1298" y="2750"/>
                </a:lnTo>
                <a:lnTo>
                  <a:pt x="1270" y="2681"/>
                </a:lnTo>
                <a:lnTo>
                  <a:pt x="1243" y="2614"/>
                </a:lnTo>
                <a:lnTo>
                  <a:pt x="1212" y="2551"/>
                </a:lnTo>
                <a:lnTo>
                  <a:pt x="1182" y="2489"/>
                </a:lnTo>
                <a:lnTo>
                  <a:pt x="1152" y="2431"/>
                </a:lnTo>
                <a:lnTo>
                  <a:pt x="1122" y="2377"/>
                </a:lnTo>
                <a:lnTo>
                  <a:pt x="1091" y="2325"/>
                </a:lnTo>
                <a:lnTo>
                  <a:pt x="1061" y="2279"/>
                </a:lnTo>
                <a:lnTo>
                  <a:pt x="1033" y="2235"/>
                </a:lnTo>
                <a:lnTo>
                  <a:pt x="1006" y="2194"/>
                </a:lnTo>
                <a:lnTo>
                  <a:pt x="981" y="2159"/>
                </a:lnTo>
                <a:lnTo>
                  <a:pt x="958" y="2128"/>
                </a:lnTo>
                <a:lnTo>
                  <a:pt x="938" y="2101"/>
                </a:lnTo>
                <a:lnTo>
                  <a:pt x="920" y="2078"/>
                </a:lnTo>
                <a:lnTo>
                  <a:pt x="906" y="2061"/>
                </a:lnTo>
                <a:lnTo>
                  <a:pt x="895" y="2048"/>
                </a:lnTo>
                <a:lnTo>
                  <a:pt x="889" y="2039"/>
                </a:lnTo>
                <a:lnTo>
                  <a:pt x="885" y="2037"/>
                </a:lnTo>
                <a:lnTo>
                  <a:pt x="883" y="2039"/>
                </a:lnTo>
                <a:lnTo>
                  <a:pt x="877" y="2048"/>
                </a:lnTo>
                <a:lnTo>
                  <a:pt x="866" y="2061"/>
                </a:lnTo>
                <a:lnTo>
                  <a:pt x="852" y="2078"/>
                </a:lnTo>
                <a:lnTo>
                  <a:pt x="834" y="2101"/>
                </a:lnTo>
                <a:lnTo>
                  <a:pt x="814" y="2128"/>
                </a:lnTo>
                <a:lnTo>
                  <a:pt x="791" y="2159"/>
                </a:lnTo>
                <a:lnTo>
                  <a:pt x="766" y="2194"/>
                </a:lnTo>
                <a:lnTo>
                  <a:pt x="739" y="2235"/>
                </a:lnTo>
                <a:lnTo>
                  <a:pt x="711" y="2279"/>
                </a:lnTo>
                <a:lnTo>
                  <a:pt x="681" y="2325"/>
                </a:lnTo>
                <a:lnTo>
                  <a:pt x="650" y="2377"/>
                </a:lnTo>
                <a:lnTo>
                  <a:pt x="620" y="2431"/>
                </a:lnTo>
                <a:lnTo>
                  <a:pt x="590" y="2489"/>
                </a:lnTo>
                <a:lnTo>
                  <a:pt x="560" y="2551"/>
                </a:lnTo>
                <a:lnTo>
                  <a:pt x="529" y="2614"/>
                </a:lnTo>
                <a:lnTo>
                  <a:pt x="502" y="2681"/>
                </a:lnTo>
                <a:lnTo>
                  <a:pt x="474" y="2750"/>
                </a:lnTo>
                <a:lnTo>
                  <a:pt x="449" y="2823"/>
                </a:lnTo>
                <a:lnTo>
                  <a:pt x="426" y="2897"/>
                </a:lnTo>
                <a:lnTo>
                  <a:pt x="406" y="2973"/>
                </a:lnTo>
                <a:lnTo>
                  <a:pt x="388" y="3052"/>
                </a:lnTo>
                <a:lnTo>
                  <a:pt x="374" y="3133"/>
                </a:lnTo>
                <a:lnTo>
                  <a:pt x="363" y="3215"/>
                </a:lnTo>
                <a:lnTo>
                  <a:pt x="357" y="3298"/>
                </a:lnTo>
                <a:lnTo>
                  <a:pt x="354" y="3384"/>
                </a:lnTo>
                <a:lnTo>
                  <a:pt x="358" y="3489"/>
                </a:lnTo>
                <a:lnTo>
                  <a:pt x="368" y="3594"/>
                </a:lnTo>
                <a:lnTo>
                  <a:pt x="384" y="3695"/>
                </a:lnTo>
                <a:lnTo>
                  <a:pt x="406" y="3793"/>
                </a:lnTo>
                <a:lnTo>
                  <a:pt x="432" y="3889"/>
                </a:lnTo>
                <a:lnTo>
                  <a:pt x="461" y="3981"/>
                </a:lnTo>
                <a:lnTo>
                  <a:pt x="494" y="4068"/>
                </a:lnTo>
                <a:lnTo>
                  <a:pt x="529" y="4152"/>
                </a:lnTo>
                <a:lnTo>
                  <a:pt x="481" y="4119"/>
                </a:lnTo>
                <a:lnTo>
                  <a:pt x="435" y="4081"/>
                </a:lnTo>
                <a:lnTo>
                  <a:pt x="389" y="4039"/>
                </a:lnTo>
                <a:lnTo>
                  <a:pt x="347" y="3991"/>
                </a:lnTo>
                <a:lnTo>
                  <a:pt x="305" y="3939"/>
                </a:lnTo>
                <a:lnTo>
                  <a:pt x="266" y="3880"/>
                </a:lnTo>
                <a:lnTo>
                  <a:pt x="229" y="3817"/>
                </a:lnTo>
                <a:lnTo>
                  <a:pt x="195" y="3748"/>
                </a:lnTo>
                <a:lnTo>
                  <a:pt x="163" y="3673"/>
                </a:lnTo>
                <a:lnTo>
                  <a:pt x="134" y="3594"/>
                </a:lnTo>
                <a:lnTo>
                  <a:pt x="106" y="3508"/>
                </a:lnTo>
                <a:lnTo>
                  <a:pt x="82" y="3416"/>
                </a:lnTo>
                <a:lnTo>
                  <a:pt x="60" y="3319"/>
                </a:lnTo>
                <a:lnTo>
                  <a:pt x="43" y="3216"/>
                </a:lnTo>
                <a:lnTo>
                  <a:pt x="28" y="3106"/>
                </a:lnTo>
                <a:lnTo>
                  <a:pt x="15" y="2992"/>
                </a:lnTo>
                <a:lnTo>
                  <a:pt x="6" y="2870"/>
                </a:lnTo>
                <a:lnTo>
                  <a:pt x="1" y="2742"/>
                </a:lnTo>
                <a:lnTo>
                  <a:pt x="0" y="2608"/>
                </a:lnTo>
                <a:lnTo>
                  <a:pt x="1" y="2514"/>
                </a:lnTo>
                <a:lnTo>
                  <a:pt x="6" y="2421"/>
                </a:lnTo>
                <a:lnTo>
                  <a:pt x="15" y="2325"/>
                </a:lnTo>
                <a:lnTo>
                  <a:pt x="28" y="2231"/>
                </a:lnTo>
                <a:lnTo>
                  <a:pt x="42" y="2135"/>
                </a:lnTo>
                <a:lnTo>
                  <a:pt x="59" y="2039"/>
                </a:lnTo>
                <a:lnTo>
                  <a:pt x="79" y="1944"/>
                </a:lnTo>
                <a:lnTo>
                  <a:pt x="101" y="1848"/>
                </a:lnTo>
                <a:lnTo>
                  <a:pt x="125" y="1752"/>
                </a:lnTo>
                <a:lnTo>
                  <a:pt x="151" y="1658"/>
                </a:lnTo>
                <a:lnTo>
                  <a:pt x="179" y="1564"/>
                </a:lnTo>
                <a:lnTo>
                  <a:pt x="209" y="1471"/>
                </a:lnTo>
                <a:lnTo>
                  <a:pt x="239" y="1379"/>
                </a:lnTo>
                <a:lnTo>
                  <a:pt x="272" y="1289"/>
                </a:lnTo>
                <a:lnTo>
                  <a:pt x="305" y="1200"/>
                </a:lnTo>
                <a:lnTo>
                  <a:pt x="339" y="1113"/>
                </a:lnTo>
                <a:lnTo>
                  <a:pt x="373" y="1028"/>
                </a:lnTo>
                <a:lnTo>
                  <a:pt x="408" y="945"/>
                </a:lnTo>
                <a:lnTo>
                  <a:pt x="442" y="864"/>
                </a:lnTo>
                <a:lnTo>
                  <a:pt x="478" y="785"/>
                </a:lnTo>
                <a:lnTo>
                  <a:pt x="513" y="709"/>
                </a:lnTo>
                <a:lnTo>
                  <a:pt x="547" y="636"/>
                </a:lnTo>
                <a:lnTo>
                  <a:pt x="581" y="565"/>
                </a:lnTo>
                <a:lnTo>
                  <a:pt x="614" y="499"/>
                </a:lnTo>
                <a:lnTo>
                  <a:pt x="645" y="436"/>
                </a:lnTo>
                <a:lnTo>
                  <a:pt x="677" y="375"/>
                </a:lnTo>
                <a:lnTo>
                  <a:pt x="706" y="319"/>
                </a:lnTo>
                <a:lnTo>
                  <a:pt x="734" y="267"/>
                </a:lnTo>
                <a:lnTo>
                  <a:pt x="760" y="219"/>
                </a:lnTo>
                <a:lnTo>
                  <a:pt x="785" y="175"/>
                </a:lnTo>
                <a:lnTo>
                  <a:pt x="807" y="135"/>
                </a:lnTo>
                <a:lnTo>
                  <a:pt x="827" y="101"/>
                </a:lnTo>
                <a:lnTo>
                  <a:pt x="844" y="70"/>
                </a:lnTo>
                <a:lnTo>
                  <a:pt x="858" y="45"/>
                </a:lnTo>
                <a:lnTo>
                  <a:pt x="870" y="26"/>
                </a:lnTo>
                <a:lnTo>
                  <a:pt x="878" y="11"/>
                </a:lnTo>
                <a:lnTo>
                  <a:pt x="885" y="2"/>
                </a:lnTo>
                <a:lnTo>
                  <a:pt x="88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Tree>
    <p:extLst>
      <p:ext uri="{BB962C8B-B14F-4D97-AF65-F5344CB8AC3E}">
        <p14:creationId xmlns:p14="http://schemas.microsoft.com/office/powerpoint/2010/main" val="604922048"/>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obsah – mob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a:t>
            </a:r>
            <a:r>
              <a:rPr lang="cs-CZ"/>
              <a:t>NADPIS SNÍMKU – mobil</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2001"/>
            <a:ext cx="8136000" cy="4624249"/>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0" name="Freeform 6"/>
          <p:cNvSpPr>
            <a:spLocks noEditPoints="1"/>
          </p:cNvSpPr>
          <p:nvPr userDrawn="1"/>
        </p:nvSpPr>
        <p:spPr bwMode="auto">
          <a:xfrm>
            <a:off x="7920038" y="5077999"/>
            <a:ext cx="719138" cy="1238251"/>
          </a:xfrm>
          <a:custGeom>
            <a:avLst/>
            <a:gdLst>
              <a:gd name="T0" fmla="*/ 1552 w 2266"/>
              <a:gd name="T1" fmla="*/ 3620 h 3900"/>
              <a:gd name="T2" fmla="*/ 1966 w 2266"/>
              <a:gd name="T3" fmla="*/ 3356 h 3900"/>
              <a:gd name="T4" fmla="*/ 938 w 2266"/>
              <a:gd name="T5" fmla="*/ 3356 h 3900"/>
              <a:gd name="T6" fmla="*/ 1352 w 2266"/>
              <a:gd name="T7" fmla="*/ 3620 h 3900"/>
              <a:gd name="T8" fmla="*/ 938 w 2266"/>
              <a:gd name="T9" fmla="*/ 3356 h 3900"/>
              <a:gd name="T10" fmla="*/ 315 w 2266"/>
              <a:gd name="T11" fmla="*/ 3620 h 3900"/>
              <a:gd name="T12" fmla="*/ 729 w 2266"/>
              <a:gd name="T13" fmla="*/ 3356 h 3900"/>
              <a:gd name="T14" fmla="*/ 1552 w 2266"/>
              <a:gd name="T15" fmla="*/ 2988 h 3900"/>
              <a:gd name="T16" fmla="*/ 1966 w 2266"/>
              <a:gd name="T17" fmla="*/ 3252 h 3900"/>
              <a:gd name="T18" fmla="*/ 1552 w 2266"/>
              <a:gd name="T19" fmla="*/ 2988 h 3900"/>
              <a:gd name="T20" fmla="*/ 938 w 2266"/>
              <a:gd name="T21" fmla="*/ 3252 h 3900"/>
              <a:gd name="T22" fmla="*/ 1352 w 2266"/>
              <a:gd name="T23" fmla="*/ 2988 h 3900"/>
              <a:gd name="T24" fmla="*/ 315 w 2266"/>
              <a:gd name="T25" fmla="*/ 2988 h 3900"/>
              <a:gd name="T26" fmla="*/ 729 w 2266"/>
              <a:gd name="T27" fmla="*/ 3252 h 3900"/>
              <a:gd name="T28" fmla="*/ 315 w 2266"/>
              <a:gd name="T29" fmla="*/ 2988 h 3900"/>
              <a:gd name="T30" fmla="*/ 1552 w 2266"/>
              <a:gd name="T31" fmla="*/ 2884 h 3900"/>
              <a:gd name="T32" fmla="*/ 1966 w 2266"/>
              <a:gd name="T33" fmla="*/ 2618 h 3900"/>
              <a:gd name="T34" fmla="*/ 938 w 2266"/>
              <a:gd name="T35" fmla="*/ 2618 h 3900"/>
              <a:gd name="T36" fmla="*/ 1352 w 2266"/>
              <a:gd name="T37" fmla="*/ 2884 h 3900"/>
              <a:gd name="T38" fmla="*/ 938 w 2266"/>
              <a:gd name="T39" fmla="*/ 2618 h 3900"/>
              <a:gd name="T40" fmla="*/ 315 w 2266"/>
              <a:gd name="T41" fmla="*/ 2884 h 3900"/>
              <a:gd name="T42" fmla="*/ 729 w 2266"/>
              <a:gd name="T43" fmla="*/ 2618 h 3900"/>
              <a:gd name="T44" fmla="*/ 1134 w 2266"/>
              <a:gd name="T45" fmla="*/ 2119 h 3900"/>
              <a:gd name="T46" fmla="*/ 1064 w 2266"/>
              <a:gd name="T47" fmla="*/ 2133 h 3900"/>
              <a:gd name="T48" fmla="*/ 1008 w 2266"/>
              <a:gd name="T49" fmla="*/ 2171 h 3900"/>
              <a:gd name="T50" fmla="*/ 970 w 2266"/>
              <a:gd name="T51" fmla="*/ 2227 h 3900"/>
              <a:gd name="T52" fmla="*/ 956 w 2266"/>
              <a:gd name="T53" fmla="*/ 2295 h 3900"/>
              <a:gd name="T54" fmla="*/ 970 w 2266"/>
              <a:gd name="T55" fmla="*/ 2364 h 3900"/>
              <a:gd name="T56" fmla="*/ 1008 w 2266"/>
              <a:gd name="T57" fmla="*/ 2421 h 3900"/>
              <a:gd name="T58" fmla="*/ 1064 w 2266"/>
              <a:gd name="T59" fmla="*/ 2459 h 3900"/>
              <a:gd name="T60" fmla="*/ 1134 w 2266"/>
              <a:gd name="T61" fmla="*/ 2473 h 3900"/>
              <a:gd name="T62" fmla="*/ 1203 w 2266"/>
              <a:gd name="T63" fmla="*/ 2459 h 3900"/>
              <a:gd name="T64" fmla="*/ 1258 w 2266"/>
              <a:gd name="T65" fmla="*/ 2421 h 3900"/>
              <a:gd name="T66" fmla="*/ 1296 w 2266"/>
              <a:gd name="T67" fmla="*/ 2364 h 3900"/>
              <a:gd name="T68" fmla="*/ 1311 w 2266"/>
              <a:gd name="T69" fmla="*/ 2295 h 3900"/>
              <a:gd name="T70" fmla="*/ 1296 w 2266"/>
              <a:gd name="T71" fmla="*/ 2227 h 3900"/>
              <a:gd name="T72" fmla="*/ 1258 w 2266"/>
              <a:gd name="T73" fmla="*/ 2171 h 3900"/>
              <a:gd name="T74" fmla="*/ 1203 w 2266"/>
              <a:gd name="T75" fmla="*/ 2133 h 3900"/>
              <a:gd name="T76" fmla="*/ 1134 w 2266"/>
              <a:gd name="T77" fmla="*/ 2119 h 3900"/>
              <a:gd name="T78" fmla="*/ 315 w 2266"/>
              <a:gd name="T79" fmla="*/ 2037 h 3900"/>
              <a:gd name="T80" fmla="*/ 1966 w 2266"/>
              <a:gd name="T81" fmla="*/ 303 h 3900"/>
              <a:gd name="T82" fmla="*/ 190 w 2266"/>
              <a:gd name="T83" fmla="*/ 0 h 3900"/>
              <a:gd name="T84" fmla="*/ 2110 w 2266"/>
              <a:gd name="T85" fmla="*/ 2 h 3900"/>
              <a:gd name="T86" fmla="*/ 2172 w 2266"/>
              <a:gd name="T87" fmla="*/ 26 h 3900"/>
              <a:gd name="T88" fmla="*/ 2221 w 2266"/>
              <a:gd name="T89" fmla="*/ 67 h 3900"/>
              <a:gd name="T90" fmla="*/ 2255 w 2266"/>
              <a:gd name="T91" fmla="*/ 123 h 3900"/>
              <a:gd name="T92" fmla="*/ 2266 w 2266"/>
              <a:gd name="T93" fmla="*/ 189 h 3900"/>
              <a:gd name="T94" fmla="*/ 2263 w 2266"/>
              <a:gd name="T95" fmla="*/ 3744 h 3900"/>
              <a:gd name="T96" fmla="*/ 2240 w 2266"/>
              <a:gd name="T97" fmla="*/ 3807 h 3900"/>
              <a:gd name="T98" fmla="*/ 2199 w 2266"/>
              <a:gd name="T99" fmla="*/ 3855 h 3900"/>
              <a:gd name="T100" fmla="*/ 2142 w 2266"/>
              <a:gd name="T101" fmla="*/ 3888 h 3900"/>
              <a:gd name="T102" fmla="*/ 2077 w 2266"/>
              <a:gd name="T103" fmla="*/ 3900 h 3900"/>
              <a:gd name="T104" fmla="*/ 155 w 2266"/>
              <a:gd name="T105" fmla="*/ 3896 h 3900"/>
              <a:gd name="T106" fmla="*/ 94 w 2266"/>
              <a:gd name="T107" fmla="*/ 3874 h 3900"/>
              <a:gd name="T108" fmla="*/ 44 w 2266"/>
              <a:gd name="T109" fmla="*/ 3833 h 3900"/>
              <a:gd name="T110" fmla="*/ 12 w 2266"/>
              <a:gd name="T111" fmla="*/ 3777 h 3900"/>
              <a:gd name="T112" fmla="*/ 0 w 2266"/>
              <a:gd name="T113" fmla="*/ 3711 h 3900"/>
              <a:gd name="T114" fmla="*/ 2 w 2266"/>
              <a:gd name="T115" fmla="*/ 155 h 3900"/>
              <a:gd name="T116" fmla="*/ 26 w 2266"/>
              <a:gd name="T117" fmla="*/ 93 h 3900"/>
              <a:gd name="T118" fmla="*/ 68 w 2266"/>
              <a:gd name="T119" fmla="*/ 44 h 3900"/>
              <a:gd name="T120" fmla="*/ 123 w 2266"/>
              <a:gd name="T121" fmla="*/ 12 h 3900"/>
              <a:gd name="T122" fmla="*/ 190 w 2266"/>
              <a:gd name="T123"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6" h="3900">
                <a:moveTo>
                  <a:pt x="1552" y="3356"/>
                </a:moveTo>
                <a:lnTo>
                  <a:pt x="1552" y="3620"/>
                </a:lnTo>
                <a:lnTo>
                  <a:pt x="1966" y="3620"/>
                </a:lnTo>
                <a:lnTo>
                  <a:pt x="1966" y="3356"/>
                </a:lnTo>
                <a:lnTo>
                  <a:pt x="1552" y="3356"/>
                </a:lnTo>
                <a:close/>
                <a:moveTo>
                  <a:pt x="938" y="3356"/>
                </a:moveTo>
                <a:lnTo>
                  <a:pt x="938" y="3620"/>
                </a:lnTo>
                <a:lnTo>
                  <a:pt x="1352" y="3620"/>
                </a:lnTo>
                <a:lnTo>
                  <a:pt x="1352" y="3356"/>
                </a:lnTo>
                <a:lnTo>
                  <a:pt x="938" y="3356"/>
                </a:lnTo>
                <a:close/>
                <a:moveTo>
                  <a:pt x="315" y="3356"/>
                </a:moveTo>
                <a:lnTo>
                  <a:pt x="315" y="3620"/>
                </a:lnTo>
                <a:lnTo>
                  <a:pt x="729" y="3620"/>
                </a:lnTo>
                <a:lnTo>
                  <a:pt x="729" y="3356"/>
                </a:lnTo>
                <a:lnTo>
                  <a:pt x="315" y="3356"/>
                </a:lnTo>
                <a:close/>
                <a:moveTo>
                  <a:pt x="1552" y="2988"/>
                </a:moveTo>
                <a:lnTo>
                  <a:pt x="1552" y="3252"/>
                </a:lnTo>
                <a:lnTo>
                  <a:pt x="1966" y="3252"/>
                </a:lnTo>
                <a:lnTo>
                  <a:pt x="1966" y="2988"/>
                </a:lnTo>
                <a:lnTo>
                  <a:pt x="1552" y="2988"/>
                </a:lnTo>
                <a:close/>
                <a:moveTo>
                  <a:pt x="938" y="2988"/>
                </a:moveTo>
                <a:lnTo>
                  <a:pt x="938" y="3252"/>
                </a:lnTo>
                <a:lnTo>
                  <a:pt x="1352" y="3252"/>
                </a:lnTo>
                <a:lnTo>
                  <a:pt x="1352" y="2988"/>
                </a:lnTo>
                <a:lnTo>
                  <a:pt x="938" y="2988"/>
                </a:lnTo>
                <a:close/>
                <a:moveTo>
                  <a:pt x="315" y="2988"/>
                </a:moveTo>
                <a:lnTo>
                  <a:pt x="315" y="3252"/>
                </a:lnTo>
                <a:lnTo>
                  <a:pt x="729" y="3252"/>
                </a:lnTo>
                <a:lnTo>
                  <a:pt x="729" y="2988"/>
                </a:lnTo>
                <a:lnTo>
                  <a:pt x="315" y="2988"/>
                </a:lnTo>
                <a:close/>
                <a:moveTo>
                  <a:pt x="1552" y="2618"/>
                </a:moveTo>
                <a:lnTo>
                  <a:pt x="1552" y="2884"/>
                </a:lnTo>
                <a:lnTo>
                  <a:pt x="1966" y="2884"/>
                </a:lnTo>
                <a:lnTo>
                  <a:pt x="1966" y="2618"/>
                </a:lnTo>
                <a:lnTo>
                  <a:pt x="1552" y="2618"/>
                </a:lnTo>
                <a:close/>
                <a:moveTo>
                  <a:pt x="938" y="2618"/>
                </a:moveTo>
                <a:lnTo>
                  <a:pt x="938" y="2884"/>
                </a:lnTo>
                <a:lnTo>
                  <a:pt x="1352" y="2884"/>
                </a:lnTo>
                <a:lnTo>
                  <a:pt x="1352" y="2618"/>
                </a:lnTo>
                <a:lnTo>
                  <a:pt x="938" y="2618"/>
                </a:lnTo>
                <a:close/>
                <a:moveTo>
                  <a:pt x="315" y="2618"/>
                </a:moveTo>
                <a:lnTo>
                  <a:pt x="315" y="2884"/>
                </a:lnTo>
                <a:lnTo>
                  <a:pt x="729" y="2884"/>
                </a:lnTo>
                <a:lnTo>
                  <a:pt x="729" y="2618"/>
                </a:lnTo>
                <a:lnTo>
                  <a:pt x="315" y="2618"/>
                </a:lnTo>
                <a:close/>
                <a:moveTo>
                  <a:pt x="1134" y="2119"/>
                </a:moveTo>
                <a:lnTo>
                  <a:pt x="1097" y="2123"/>
                </a:lnTo>
                <a:lnTo>
                  <a:pt x="1064" y="2133"/>
                </a:lnTo>
                <a:lnTo>
                  <a:pt x="1034" y="2149"/>
                </a:lnTo>
                <a:lnTo>
                  <a:pt x="1008" y="2171"/>
                </a:lnTo>
                <a:lnTo>
                  <a:pt x="987" y="2197"/>
                </a:lnTo>
                <a:lnTo>
                  <a:pt x="970" y="2227"/>
                </a:lnTo>
                <a:lnTo>
                  <a:pt x="959" y="2260"/>
                </a:lnTo>
                <a:lnTo>
                  <a:pt x="956" y="2295"/>
                </a:lnTo>
                <a:lnTo>
                  <a:pt x="959" y="2331"/>
                </a:lnTo>
                <a:lnTo>
                  <a:pt x="970" y="2364"/>
                </a:lnTo>
                <a:lnTo>
                  <a:pt x="987" y="2395"/>
                </a:lnTo>
                <a:lnTo>
                  <a:pt x="1008" y="2421"/>
                </a:lnTo>
                <a:lnTo>
                  <a:pt x="1034" y="2442"/>
                </a:lnTo>
                <a:lnTo>
                  <a:pt x="1064" y="2459"/>
                </a:lnTo>
                <a:lnTo>
                  <a:pt x="1097" y="2469"/>
                </a:lnTo>
                <a:lnTo>
                  <a:pt x="1134" y="2473"/>
                </a:lnTo>
                <a:lnTo>
                  <a:pt x="1169" y="2469"/>
                </a:lnTo>
                <a:lnTo>
                  <a:pt x="1203" y="2459"/>
                </a:lnTo>
                <a:lnTo>
                  <a:pt x="1232" y="2442"/>
                </a:lnTo>
                <a:lnTo>
                  <a:pt x="1258" y="2421"/>
                </a:lnTo>
                <a:lnTo>
                  <a:pt x="1280" y="2395"/>
                </a:lnTo>
                <a:lnTo>
                  <a:pt x="1296" y="2364"/>
                </a:lnTo>
                <a:lnTo>
                  <a:pt x="1307" y="2331"/>
                </a:lnTo>
                <a:lnTo>
                  <a:pt x="1311" y="2295"/>
                </a:lnTo>
                <a:lnTo>
                  <a:pt x="1307" y="2260"/>
                </a:lnTo>
                <a:lnTo>
                  <a:pt x="1296" y="2227"/>
                </a:lnTo>
                <a:lnTo>
                  <a:pt x="1280" y="2197"/>
                </a:lnTo>
                <a:lnTo>
                  <a:pt x="1258" y="2171"/>
                </a:lnTo>
                <a:lnTo>
                  <a:pt x="1232" y="2149"/>
                </a:lnTo>
                <a:lnTo>
                  <a:pt x="1203" y="2133"/>
                </a:lnTo>
                <a:lnTo>
                  <a:pt x="1169" y="2123"/>
                </a:lnTo>
                <a:lnTo>
                  <a:pt x="1134" y="2119"/>
                </a:lnTo>
                <a:close/>
                <a:moveTo>
                  <a:pt x="315" y="303"/>
                </a:moveTo>
                <a:lnTo>
                  <a:pt x="315" y="2037"/>
                </a:lnTo>
                <a:lnTo>
                  <a:pt x="1966" y="2037"/>
                </a:lnTo>
                <a:lnTo>
                  <a:pt x="1966" y="303"/>
                </a:lnTo>
                <a:lnTo>
                  <a:pt x="315" y="303"/>
                </a:lnTo>
                <a:close/>
                <a:moveTo>
                  <a:pt x="190" y="0"/>
                </a:moveTo>
                <a:lnTo>
                  <a:pt x="2077" y="0"/>
                </a:lnTo>
                <a:lnTo>
                  <a:pt x="2110" y="2"/>
                </a:lnTo>
                <a:lnTo>
                  <a:pt x="2142" y="12"/>
                </a:lnTo>
                <a:lnTo>
                  <a:pt x="2172" y="26"/>
                </a:lnTo>
                <a:lnTo>
                  <a:pt x="2199" y="44"/>
                </a:lnTo>
                <a:lnTo>
                  <a:pt x="2221" y="67"/>
                </a:lnTo>
                <a:lnTo>
                  <a:pt x="2240" y="93"/>
                </a:lnTo>
                <a:lnTo>
                  <a:pt x="2255" y="123"/>
                </a:lnTo>
                <a:lnTo>
                  <a:pt x="2263" y="155"/>
                </a:lnTo>
                <a:lnTo>
                  <a:pt x="2266" y="189"/>
                </a:lnTo>
                <a:lnTo>
                  <a:pt x="2266" y="3711"/>
                </a:lnTo>
                <a:lnTo>
                  <a:pt x="2263" y="3744"/>
                </a:lnTo>
                <a:lnTo>
                  <a:pt x="2255" y="3777"/>
                </a:lnTo>
                <a:lnTo>
                  <a:pt x="2240" y="3807"/>
                </a:lnTo>
                <a:lnTo>
                  <a:pt x="2221" y="3833"/>
                </a:lnTo>
                <a:lnTo>
                  <a:pt x="2199" y="3855"/>
                </a:lnTo>
                <a:lnTo>
                  <a:pt x="2172" y="3874"/>
                </a:lnTo>
                <a:lnTo>
                  <a:pt x="2142" y="3888"/>
                </a:lnTo>
                <a:lnTo>
                  <a:pt x="2110" y="3896"/>
                </a:lnTo>
                <a:lnTo>
                  <a:pt x="2077" y="3900"/>
                </a:lnTo>
                <a:lnTo>
                  <a:pt x="190" y="3900"/>
                </a:lnTo>
                <a:lnTo>
                  <a:pt x="155" y="3896"/>
                </a:lnTo>
                <a:lnTo>
                  <a:pt x="123" y="3888"/>
                </a:lnTo>
                <a:lnTo>
                  <a:pt x="94" y="3874"/>
                </a:lnTo>
                <a:lnTo>
                  <a:pt x="68" y="3855"/>
                </a:lnTo>
                <a:lnTo>
                  <a:pt x="44" y="3833"/>
                </a:lnTo>
                <a:lnTo>
                  <a:pt x="26" y="3807"/>
                </a:lnTo>
                <a:lnTo>
                  <a:pt x="12" y="3777"/>
                </a:lnTo>
                <a:lnTo>
                  <a:pt x="2" y="3744"/>
                </a:lnTo>
                <a:lnTo>
                  <a:pt x="0" y="3711"/>
                </a:lnTo>
                <a:lnTo>
                  <a:pt x="0" y="189"/>
                </a:lnTo>
                <a:lnTo>
                  <a:pt x="2" y="155"/>
                </a:lnTo>
                <a:lnTo>
                  <a:pt x="12" y="123"/>
                </a:lnTo>
                <a:lnTo>
                  <a:pt x="26" y="93"/>
                </a:lnTo>
                <a:lnTo>
                  <a:pt x="44" y="67"/>
                </a:lnTo>
                <a:lnTo>
                  <a:pt x="68" y="44"/>
                </a:lnTo>
                <a:lnTo>
                  <a:pt x="94" y="26"/>
                </a:lnTo>
                <a:lnTo>
                  <a:pt x="123" y="12"/>
                </a:lnTo>
                <a:lnTo>
                  <a:pt x="155" y="2"/>
                </a:lnTo>
                <a:lnTo>
                  <a:pt x="1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Tree>
    <p:extLst>
      <p:ext uri="{BB962C8B-B14F-4D97-AF65-F5344CB8AC3E}">
        <p14:creationId xmlns:p14="http://schemas.microsoft.com/office/powerpoint/2010/main" val="3212198550"/>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bsah – tep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a:t>
            </a:r>
            <a:r>
              <a:rPr lang="cs-CZ"/>
              <a:t>NADPIS SNÍMKU – teplo</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1999"/>
            <a:ext cx="8136000" cy="4629427"/>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18" name="Skupina 17"/>
          <p:cNvGrpSpPr/>
          <p:nvPr userDrawn="1"/>
        </p:nvGrpSpPr>
        <p:grpSpPr>
          <a:xfrm>
            <a:off x="7723670" y="5629275"/>
            <a:ext cx="985838" cy="692151"/>
            <a:chOff x="7673975" y="5629275"/>
            <a:chExt cx="985838" cy="692150"/>
          </a:xfrm>
          <a:solidFill>
            <a:schemeClr val="accent1"/>
          </a:solidFill>
        </p:grpSpPr>
        <p:sp>
          <p:nvSpPr>
            <p:cNvPr id="11" name="Freeform 6"/>
            <p:cNvSpPr>
              <a:spLocks/>
            </p:cNvSpPr>
            <p:nvPr userDrawn="1"/>
          </p:nvSpPr>
          <p:spPr bwMode="auto">
            <a:xfrm>
              <a:off x="8291513" y="5629275"/>
              <a:ext cx="117475" cy="692150"/>
            </a:xfrm>
            <a:custGeom>
              <a:avLst/>
              <a:gdLst>
                <a:gd name="T0" fmla="*/ 221 w 442"/>
                <a:gd name="T1" fmla="*/ 0 h 2616"/>
                <a:gd name="T2" fmla="*/ 261 w 442"/>
                <a:gd name="T3" fmla="*/ 4 h 2616"/>
                <a:gd name="T4" fmla="*/ 298 w 442"/>
                <a:gd name="T5" fmla="*/ 14 h 2616"/>
                <a:gd name="T6" fmla="*/ 332 w 442"/>
                <a:gd name="T7" fmla="*/ 31 h 2616"/>
                <a:gd name="T8" fmla="*/ 363 w 442"/>
                <a:gd name="T9" fmla="*/ 53 h 2616"/>
                <a:gd name="T10" fmla="*/ 390 w 442"/>
                <a:gd name="T11" fmla="*/ 79 h 2616"/>
                <a:gd name="T12" fmla="*/ 411 w 442"/>
                <a:gd name="T13" fmla="*/ 110 h 2616"/>
                <a:gd name="T14" fmla="*/ 427 w 442"/>
                <a:gd name="T15" fmla="*/ 144 h 2616"/>
                <a:gd name="T16" fmla="*/ 437 w 442"/>
                <a:gd name="T17" fmla="*/ 182 h 2616"/>
                <a:gd name="T18" fmla="*/ 442 w 442"/>
                <a:gd name="T19" fmla="*/ 221 h 2616"/>
                <a:gd name="T20" fmla="*/ 442 w 442"/>
                <a:gd name="T21" fmla="*/ 2395 h 2616"/>
                <a:gd name="T22" fmla="*/ 437 w 442"/>
                <a:gd name="T23" fmla="*/ 2435 h 2616"/>
                <a:gd name="T24" fmla="*/ 427 w 442"/>
                <a:gd name="T25" fmla="*/ 2472 h 2616"/>
                <a:gd name="T26" fmla="*/ 411 w 442"/>
                <a:gd name="T27" fmla="*/ 2507 h 2616"/>
                <a:gd name="T28" fmla="*/ 390 w 442"/>
                <a:gd name="T29" fmla="*/ 2538 h 2616"/>
                <a:gd name="T30" fmla="*/ 363 w 442"/>
                <a:gd name="T31" fmla="*/ 2564 h 2616"/>
                <a:gd name="T32" fmla="*/ 332 w 442"/>
                <a:gd name="T33" fmla="*/ 2587 h 2616"/>
                <a:gd name="T34" fmla="*/ 298 w 442"/>
                <a:gd name="T35" fmla="*/ 2602 h 2616"/>
                <a:gd name="T36" fmla="*/ 261 w 442"/>
                <a:gd name="T37" fmla="*/ 2613 h 2616"/>
                <a:gd name="T38" fmla="*/ 221 w 442"/>
                <a:gd name="T39" fmla="*/ 2616 h 2616"/>
                <a:gd name="T40" fmla="*/ 181 w 442"/>
                <a:gd name="T41" fmla="*/ 2613 h 2616"/>
                <a:gd name="T42" fmla="*/ 144 w 442"/>
                <a:gd name="T43" fmla="*/ 2602 h 2616"/>
                <a:gd name="T44" fmla="*/ 109 w 442"/>
                <a:gd name="T45" fmla="*/ 2587 h 2616"/>
                <a:gd name="T46" fmla="*/ 78 w 442"/>
                <a:gd name="T47" fmla="*/ 2564 h 2616"/>
                <a:gd name="T48" fmla="*/ 52 w 442"/>
                <a:gd name="T49" fmla="*/ 2538 h 2616"/>
                <a:gd name="T50" fmla="*/ 31 w 442"/>
                <a:gd name="T51" fmla="*/ 2507 h 2616"/>
                <a:gd name="T52" fmla="*/ 14 w 442"/>
                <a:gd name="T53" fmla="*/ 2472 h 2616"/>
                <a:gd name="T54" fmla="*/ 4 w 442"/>
                <a:gd name="T55" fmla="*/ 2435 h 2616"/>
                <a:gd name="T56" fmla="*/ 0 w 442"/>
                <a:gd name="T57" fmla="*/ 2395 h 2616"/>
                <a:gd name="T58" fmla="*/ 0 w 442"/>
                <a:gd name="T59" fmla="*/ 221 h 2616"/>
                <a:gd name="T60" fmla="*/ 4 w 442"/>
                <a:gd name="T61" fmla="*/ 182 h 2616"/>
                <a:gd name="T62" fmla="*/ 14 w 442"/>
                <a:gd name="T63" fmla="*/ 144 h 2616"/>
                <a:gd name="T64" fmla="*/ 31 w 442"/>
                <a:gd name="T65" fmla="*/ 110 h 2616"/>
                <a:gd name="T66" fmla="*/ 52 w 442"/>
                <a:gd name="T67" fmla="*/ 79 h 2616"/>
                <a:gd name="T68" fmla="*/ 78 w 442"/>
                <a:gd name="T69" fmla="*/ 53 h 2616"/>
                <a:gd name="T70" fmla="*/ 109 w 442"/>
                <a:gd name="T71" fmla="*/ 31 h 2616"/>
                <a:gd name="T72" fmla="*/ 144 w 442"/>
                <a:gd name="T73" fmla="*/ 14 h 2616"/>
                <a:gd name="T74" fmla="*/ 181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1" y="4"/>
                  </a:lnTo>
                  <a:lnTo>
                    <a:pt x="298" y="14"/>
                  </a:lnTo>
                  <a:lnTo>
                    <a:pt x="332" y="31"/>
                  </a:lnTo>
                  <a:lnTo>
                    <a:pt x="363" y="53"/>
                  </a:lnTo>
                  <a:lnTo>
                    <a:pt x="390" y="79"/>
                  </a:lnTo>
                  <a:lnTo>
                    <a:pt x="411" y="110"/>
                  </a:lnTo>
                  <a:lnTo>
                    <a:pt x="427" y="144"/>
                  </a:lnTo>
                  <a:lnTo>
                    <a:pt x="437" y="182"/>
                  </a:lnTo>
                  <a:lnTo>
                    <a:pt x="442" y="221"/>
                  </a:lnTo>
                  <a:lnTo>
                    <a:pt x="442" y="2395"/>
                  </a:lnTo>
                  <a:lnTo>
                    <a:pt x="437" y="2435"/>
                  </a:lnTo>
                  <a:lnTo>
                    <a:pt x="427" y="2472"/>
                  </a:lnTo>
                  <a:lnTo>
                    <a:pt x="411" y="2507"/>
                  </a:lnTo>
                  <a:lnTo>
                    <a:pt x="390" y="2538"/>
                  </a:lnTo>
                  <a:lnTo>
                    <a:pt x="363" y="2564"/>
                  </a:lnTo>
                  <a:lnTo>
                    <a:pt x="332" y="2587"/>
                  </a:lnTo>
                  <a:lnTo>
                    <a:pt x="298" y="2602"/>
                  </a:lnTo>
                  <a:lnTo>
                    <a:pt x="261" y="2613"/>
                  </a:lnTo>
                  <a:lnTo>
                    <a:pt x="221" y="2616"/>
                  </a:lnTo>
                  <a:lnTo>
                    <a:pt x="181" y="2613"/>
                  </a:lnTo>
                  <a:lnTo>
                    <a:pt x="144" y="2602"/>
                  </a:lnTo>
                  <a:lnTo>
                    <a:pt x="109" y="2587"/>
                  </a:lnTo>
                  <a:lnTo>
                    <a:pt x="78" y="2564"/>
                  </a:lnTo>
                  <a:lnTo>
                    <a:pt x="52" y="2538"/>
                  </a:lnTo>
                  <a:lnTo>
                    <a:pt x="31" y="2507"/>
                  </a:lnTo>
                  <a:lnTo>
                    <a:pt x="14" y="2472"/>
                  </a:lnTo>
                  <a:lnTo>
                    <a:pt x="4" y="2435"/>
                  </a:lnTo>
                  <a:lnTo>
                    <a:pt x="0" y="2395"/>
                  </a:lnTo>
                  <a:lnTo>
                    <a:pt x="0" y="221"/>
                  </a:lnTo>
                  <a:lnTo>
                    <a:pt x="4" y="182"/>
                  </a:lnTo>
                  <a:lnTo>
                    <a:pt x="14" y="144"/>
                  </a:lnTo>
                  <a:lnTo>
                    <a:pt x="31" y="110"/>
                  </a:lnTo>
                  <a:lnTo>
                    <a:pt x="52" y="79"/>
                  </a:lnTo>
                  <a:lnTo>
                    <a:pt x="78" y="53"/>
                  </a:lnTo>
                  <a:lnTo>
                    <a:pt x="109" y="31"/>
                  </a:lnTo>
                  <a:lnTo>
                    <a:pt x="144" y="14"/>
                  </a:lnTo>
                  <a:lnTo>
                    <a:pt x="181"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2" name="Freeform 7"/>
            <p:cNvSpPr>
              <a:spLocks/>
            </p:cNvSpPr>
            <p:nvPr userDrawn="1"/>
          </p:nvSpPr>
          <p:spPr bwMode="auto">
            <a:xfrm>
              <a:off x="8108950" y="5629275"/>
              <a:ext cx="115888" cy="692150"/>
            </a:xfrm>
            <a:custGeom>
              <a:avLst/>
              <a:gdLst>
                <a:gd name="T0" fmla="*/ 220 w 441"/>
                <a:gd name="T1" fmla="*/ 0 h 2616"/>
                <a:gd name="T2" fmla="*/ 259 w 441"/>
                <a:gd name="T3" fmla="*/ 4 h 2616"/>
                <a:gd name="T4" fmla="*/ 297 w 441"/>
                <a:gd name="T5" fmla="*/ 14 h 2616"/>
                <a:gd name="T6" fmla="*/ 332 w 441"/>
                <a:gd name="T7" fmla="*/ 31 h 2616"/>
                <a:gd name="T8" fmla="*/ 363 w 441"/>
                <a:gd name="T9" fmla="*/ 53 h 2616"/>
                <a:gd name="T10" fmla="*/ 389 w 441"/>
                <a:gd name="T11" fmla="*/ 79 h 2616"/>
                <a:gd name="T12" fmla="*/ 411 w 441"/>
                <a:gd name="T13" fmla="*/ 110 h 2616"/>
                <a:gd name="T14" fmla="*/ 427 w 441"/>
                <a:gd name="T15" fmla="*/ 144 h 2616"/>
                <a:gd name="T16" fmla="*/ 437 w 441"/>
                <a:gd name="T17" fmla="*/ 182 h 2616"/>
                <a:gd name="T18" fmla="*/ 441 w 441"/>
                <a:gd name="T19" fmla="*/ 221 h 2616"/>
                <a:gd name="T20" fmla="*/ 441 w 441"/>
                <a:gd name="T21" fmla="*/ 2395 h 2616"/>
                <a:gd name="T22" fmla="*/ 437 w 441"/>
                <a:gd name="T23" fmla="*/ 2435 h 2616"/>
                <a:gd name="T24" fmla="*/ 427 w 441"/>
                <a:gd name="T25" fmla="*/ 2472 h 2616"/>
                <a:gd name="T26" fmla="*/ 411 w 441"/>
                <a:gd name="T27" fmla="*/ 2507 h 2616"/>
                <a:gd name="T28" fmla="*/ 389 w 441"/>
                <a:gd name="T29" fmla="*/ 2538 h 2616"/>
                <a:gd name="T30" fmla="*/ 363 w 441"/>
                <a:gd name="T31" fmla="*/ 2564 h 2616"/>
                <a:gd name="T32" fmla="*/ 332 w 441"/>
                <a:gd name="T33" fmla="*/ 2587 h 2616"/>
                <a:gd name="T34" fmla="*/ 297 w 441"/>
                <a:gd name="T35" fmla="*/ 2602 h 2616"/>
                <a:gd name="T36" fmla="*/ 259 w 441"/>
                <a:gd name="T37" fmla="*/ 2613 h 2616"/>
                <a:gd name="T38" fmla="*/ 220 w 441"/>
                <a:gd name="T39" fmla="*/ 2616 h 2616"/>
                <a:gd name="T40" fmla="*/ 180 w 441"/>
                <a:gd name="T41" fmla="*/ 2613 h 2616"/>
                <a:gd name="T42" fmla="*/ 143 w 441"/>
                <a:gd name="T43" fmla="*/ 2602 h 2616"/>
                <a:gd name="T44" fmla="*/ 109 w 441"/>
                <a:gd name="T45" fmla="*/ 2587 h 2616"/>
                <a:gd name="T46" fmla="*/ 78 w 441"/>
                <a:gd name="T47" fmla="*/ 2564 h 2616"/>
                <a:gd name="T48" fmla="*/ 51 w 441"/>
                <a:gd name="T49" fmla="*/ 2538 h 2616"/>
                <a:gd name="T50" fmla="*/ 29 w 441"/>
                <a:gd name="T51" fmla="*/ 2507 h 2616"/>
                <a:gd name="T52" fmla="*/ 14 w 441"/>
                <a:gd name="T53" fmla="*/ 2472 h 2616"/>
                <a:gd name="T54" fmla="*/ 3 w 441"/>
                <a:gd name="T55" fmla="*/ 2435 h 2616"/>
                <a:gd name="T56" fmla="*/ 0 w 441"/>
                <a:gd name="T57" fmla="*/ 2395 h 2616"/>
                <a:gd name="T58" fmla="*/ 0 w 441"/>
                <a:gd name="T59" fmla="*/ 221 h 2616"/>
                <a:gd name="T60" fmla="*/ 3 w 441"/>
                <a:gd name="T61" fmla="*/ 182 h 2616"/>
                <a:gd name="T62" fmla="*/ 14 w 441"/>
                <a:gd name="T63" fmla="*/ 144 h 2616"/>
                <a:gd name="T64" fmla="*/ 29 w 441"/>
                <a:gd name="T65" fmla="*/ 110 h 2616"/>
                <a:gd name="T66" fmla="*/ 51 w 441"/>
                <a:gd name="T67" fmla="*/ 79 h 2616"/>
                <a:gd name="T68" fmla="*/ 78 w 441"/>
                <a:gd name="T69" fmla="*/ 53 h 2616"/>
                <a:gd name="T70" fmla="*/ 109 w 441"/>
                <a:gd name="T71" fmla="*/ 31 h 2616"/>
                <a:gd name="T72" fmla="*/ 143 w 441"/>
                <a:gd name="T73" fmla="*/ 14 h 2616"/>
                <a:gd name="T74" fmla="*/ 180 w 441"/>
                <a:gd name="T75" fmla="*/ 4 h 2616"/>
                <a:gd name="T76" fmla="*/ 220 w 441"/>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1" h="2616">
                  <a:moveTo>
                    <a:pt x="220" y="0"/>
                  </a:moveTo>
                  <a:lnTo>
                    <a:pt x="259" y="4"/>
                  </a:lnTo>
                  <a:lnTo>
                    <a:pt x="297" y="14"/>
                  </a:lnTo>
                  <a:lnTo>
                    <a:pt x="332" y="31"/>
                  </a:lnTo>
                  <a:lnTo>
                    <a:pt x="363" y="53"/>
                  </a:lnTo>
                  <a:lnTo>
                    <a:pt x="389" y="79"/>
                  </a:lnTo>
                  <a:lnTo>
                    <a:pt x="411" y="110"/>
                  </a:lnTo>
                  <a:lnTo>
                    <a:pt x="427" y="144"/>
                  </a:lnTo>
                  <a:lnTo>
                    <a:pt x="437" y="182"/>
                  </a:lnTo>
                  <a:lnTo>
                    <a:pt x="441" y="221"/>
                  </a:lnTo>
                  <a:lnTo>
                    <a:pt x="441" y="2395"/>
                  </a:lnTo>
                  <a:lnTo>
                    <a:pt x="437" y="2435"/>
                  </a:lnTo>
                  <a:lnTo>
                    <a:pt x="427" y="2472"/>
                  </a:lnTo>
                  <a:lnTo>
                    <a:pt x="411" y="2507"/>
                  </a:lnTo>
                  <a:lnTo>
                    <a:pt x="389" y="2538"/>
                  </a:lnTo>
                  <a:lnTo>
                    <a:pt x="363" y="2564"/>
                  </a:lnTo>
                  <a:lnTo>
                    <a:pt x="332" y="2587"/>
                  </a:lnTo>
                  <a:lnTo>
                    <a:pt x="297" y="2602"/>
                  </a:lnTo>
                  <a:lnTo>
                    <a:pt x="259" y="2613"/>
                  </a:lnTo>
                  <a:lnTo>
                    <a:pt x="220" y="2616"/>
                  </a:lnTo>
                  <a:lnTo>
                    <a:pt x="180" y="2613"/>
                  </a:lnTo>
                  <a:lnTo>
                    <a:pt x="143" y="2602"/>
                  </a:lnTo>
                  <a:lnTo>
                    <a:pt x="109" y="2587"/>
                  </a:lnTo>
                  <a:lnTo>
                    <a:pt x="78" y="2564"/>
                  </a:lnTo>
                  <a:lnTo>
                    <a:pt x="51" y="2538"/>
                  </a:lnTo>
                  <a:lnTo>
                    <a:pt x="29" y="2507"/>
                  </a:lnTo>
                  <a:lnTo>
                    <a:pt x="14" y="2472"/>
                  </a:lnTo>
                  <a:lnTo>
                    <a:pt x="3" y="2435"/>
                  </a:lnTo>
                  <a:lnTo>
                    <a:pt x="0" y="2395"/>
                  </a:lnTo>
                  <a:lnTo>
                    <a:pt x="0" y="221"/>
                  </a:lnTo>
                  <a:lnTo>
                    <a:pt x="3" y="182"/>
                  </a:lnTo>
                  <a:lnTo>
                    <a:pt x="14" y="144"/>
                  </a:lnTo>
                  <a:lnTo>
                    <a:pt x="29" y="110"/>
                  </a:lnTo>
                  <a:lnTo>
                    <a:pt x="51" y="79"/>
                  </a:lnTo>
                  <a:lnTo>
                    <a:pt x="78" y="53"/>
                  </a:lnTo>
                  <a:lnTo>
                    <a:pt x="109" y="31"/>
                  </a:lnTo>
                  <a:lnTo>
                    <a:pt x="143" y="14"/>
                  </a:lnTo>
                  <a:lnTo>
                    <a:pt x="180" y="4"/>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3" name="Freeform 8"/>
            <p:cNvSpPr>
              <a:spLocks/>
            </p:cNvSpPr>
            <p:nvPr userDrawn="1"/>
          </p:nvSpPr>
          <p:spPr bwMode="auto">
            <a:xfrm>
              <a:off x="7924800" y="5629275"/>
              <a:ext cx="117475" cy="692150"/>
            </a:xfrm>
            <a:custGeom>
              <a:avLst/>
              <a:gdLst>
                <a:gd name="T0" fmla="*/ 221 w 442"/>
                <a:gd name="T1" fmla="*/ 0 h 2616"/>
                <a:gd name="T2" fmla="*/ 260 w 442"/>
                <a:gd name="T3" fmla="*/ 4 h 2616"/>
                <a:gd name="T4" fmla="*/ 298 w 442"/>
                <a:gd name="T5" fmla="*/ 14 h 2616"/>
                <a:gd name="T6" fmla="*/ 332 w 442"/>
                <a:gd name="T7" fmla="*/ 31 h 2616"/>
                <a:gd name="T8" fmla="*/ 363 w 442"/>
                <a:gd name="T9" fmla="*/ 53 h 2616"/>
                <a:gd name="T10" fmla="*/ 389 w 442"/>
                <a:gd name="T11" fmla="*/ 79 h 2616"/>
                <a:gd name="T12" fmla="*/ 411 w 442"/>
                <a:gd name="T13" fmla="*/ 110 h 2616"/>
                <a:gd name="T14" fmla="*/ 428 w 442"/>
                <a:gd name="T15" fmla="*/ 144 h 2616"/>
                <a:gd name="T16" fmla="*/ 438 w 442"/>
                <a:gd name="T17" fmla="*/ 182 h 2616"/>
                <a:gd name="T18" fmla="*/ 442 w 442"/>
                <a:gd name="T19" fmla="*/ 221 h 2616"/>
                <a:gd name="T20" fmla="*/ 442 w 442"/>
                <a:gd name="T21" fmla="*/ 2395 h 2616"/>
                <a:gd name="T22" fmla="*/ 438 w 442"/>
                <a:gd name="T23" fmla="*/ 2435 h 2616"/>
                <a:gd name="T24" fmla="*/ 428 w 442"/>
                <a:gd name="T25" fmla="*/ 2472 h 2616"/>
                <a:gd name="T26" fmla="*/ 411 w 442"/>
                <a:gd name="T27" fmla="*/ 2507 h 2616"/>
                <a:gd name="T28" fmla="*/ 389 w 442"/>
                <a:gd name="T29" fmla="*/ 2538 h 2616"/>
                <a:gd name="T30" fmla="*/ 363 w 442"/>
                <a:gd name="T31" fmla="*/ 2564 h 2616"/>
                <a:gd name="T32" fmla="*/ 332 w 442"/>
                <a:gd name="T33" fmla="*/ 2587 h 2616"/>
                <a:gd name="T34" fmla="*/ 298 w 442"/>
                <a:gd name="T35" fmla="*/ 2602 h 2616"/>
                <a:gd name="T36" fmla="*/ 260 w 442"/>
                <a:gd name="T37" fmla="*/ 2613 h 2616"/>
                <a:gd name="T38" fmla="*/ 221 w 442"/>
                <a:gd name="T39" fmla="*/ 2616 h 2616"/>
                <a:gd name="T40" fmla="*/ 181 w 442"/>
                <a:gd name="T41" fmla="*/ 2613 h 2616"/>
                <a:gd name="T42" fmla="*/ 144 w 442"/>
                <a:gd name="T43" fmla="*/ 2602 h 2616"/>
                <a:gd name="T44" fmla="*/ 110 w 442"/>
                <a:gd name="T45" fmla="*/ 2587 h 2616"/>
                <a:gd name="T46" fmla="*/ 79 w 442"/>
                <a:gd name="T47" fmla="*/ 2564 h 2616"/>
                <a:gd name="T48" fmla="*/ 52 w 442"/>
                <a:gd name="T49" fmla="*/ 2538 h 2616"/>
                <a:gd name="T50" fmla="*/ 30 w 442"/>
                <a:gd name="T51" fmla="*/ 2507 h 2616"/>
                <a:gd name="T52" fmla="*/ 13 w 442"/>
                <a:gd name="T53" fmla="*/ 2472 h 2616"/>
                <a:gd name="T54" fmla="*/ 3 w 442"/>
                <a:gd name="T55" fmla="*/ 2435 h 2616"/>
                <a:gd name="T56" fmla="*/ 0 w 442"/>
                <a:gd name="T57" fmla="*/ 2395 h 2616"/>
                <a:gd name="T58" fmla="*/ 0 w 442"/>
                <a:gd name="T59" fmla="*/ 221 h 2616"/>
                <a:gd name="T60" fmla="*/ 3 w 442"/>
                <a:gd name="T61" fmla="*/ 182 h 2616"/>
                <a:gd name="T62" fmla="*/ 13 w 442"/>
                <a:gd name="T63" fmla="*/ 144 h 2616"/>
                <a:gd name="T64" fmla="*/ 30 w 442"/>
                <a:gd name="T65" fmla="*/ 110 h 2616"/>
                <a:gd name="T66" fmla="*/ 52 w 442"/>
                <a:gd name="T67" fmla="*/ 79 h 2616"/>
                <a:gd name="T68" fmla="*/ 79 w 442"/>
                <a:gd name="T69" fmla="*/ 53 h 2616"/>
                <a:gd name="T70" fmla="*/ 110 w 442"/>
                <a:gd name="T71" fmla="*/ 31 h 2616"/>
                <a:gd name="T72" fmla="*/ 144 w 442"/>
                <a:gd name="T73" fmla="*/ 14 h 2616"/>
                <a:gd name="T74" fmla="*/ 181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0" y="4"/>
                  </a:lnTo>
                  <a:lnTo>
                    <a:pt x="298" y="14"/>
                  </a:lnTo>
                  <a:lnTo>
                    <a:pt x="332" y="31"/>
                  </a:lnTo>
                  <a:lnTo>
                    <a:pt x="363" y="53"/>
                  </a:lnTo>
                  <a:lnTo>
                    <a:pt x="389" y="79"/>
                  </a:lnTo>
                  <a:lnTo>
                    <a:pt x="411" y="110"/>
                  </a:lnTo>
                  <a:lnTo>
                    <a:pt x="428" y="144"/>
                  </a:lnTo>
                  <a:lnTo>
                    <a:pt x="438" y="182"/>
                  </a:lnTo>
                  <a:lnTo>
                    <a:pt x="442" y="221"/>
                  </a:lnTo>
                  <a:lnTo>
                    <a:pt x="442" y="2395"/>
                  </a:lnTo>
                  <a:lnTo>
                    <a:pt x="438" y="2435"/>
                  </a:lnTo>
                  <a:lnTo>
                    <a:pt x="428" y="2472"/>
                  </a:lnTo>
                  <a:lnTo>
                    <a:pt x="411" y="2507"/>
                  </a:lnTo>
                  <a:lnTo>
                    <a:pt x="389" y="2538"/>
                  </a:lnTo>
                  <a:lnTo>
                    <a:pt x="363" y="2564"/>
                  </a:lnTo>
                  <a:lnTo>
                    <a:pt x="332" y="2587"/>
                  </a:lnTo>
                  <a:lnTo>
                    <a:pt x="298" y="2602"/>
                  </a:lnTo>
                  <a:lnTo>
                    <a:pt x="260" y="2613"/>
                  </a:lnTo>
                  <a:lnTo>
                    <a:pt x="221" y="2616"/>
                  </a:lnTo>
                  <a:lnTo>
                    <a:pt x="181" y="2613"/>
                  </a:lnTo>
                  <a:lnTo>
                    <a:pt x="144" y="2602"/>
                  </a:lnTo>
                  <a:lnTo>
                    <a:pt x="110" y="2587"/>
                  </a:lnTo>
                  <a:lnTo>
                    <a:pt x="79" y="2564"/>
                  </a:lnTo>
                  <a:lnTo>
                    <a:pt x="52" y="2538"/>
                  </a:lnTo>
                  <a:lnTo>
                    <a:pt x="30" y="2507"/>
                  </a:lnTo>
                  <a:lnTo>
                    <a:pt x="13" y="2472"/>
                  </a:lnTo>
                  <a:lnTo>
                    <a:pt x="3" y="2435"/>
                  </a:lnTo>
                  <a:lnTo>
                    <a:pt x="0" y="2395"/>
                  </a:lnTo>
                  <a:lnTo>
                    <a:pt x="0" y="221"/>
                  </a:lnTo>
                  <a:lnTo>
                    <a:pt x="3" y="182"/>
                  </a:lnTo>
                  <a:lnTo>
                    <a:pt x="13" y="144"/>
                  </a:lnTo>
                  <a:lnTo>
                    <a:pt x="30" y="110"/>
                  </a:lnTo>
                  <a:lnTo>
                    <a:pt x="52" y="79"/>
                  </a:lnTo>
                  <a:lnTo>
                    <a:pt x="79" y="53"/>
                  </a:lnTo>
                  <a:lnTo>
                    <a:pt x="110" y="31"/>
                  </a:lnTo>
                  <a:lnTo>
                    <a:pt x="144" y="14"/>
                  </a:lnTo>
                  <a:lnTo>
                    <a:pt x="181"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4" name="Freeform 9"/>
            <p:cNvSpPr>
              <a:spLocks/>
            </p:cNvSpPr>
            <p:nvPr userDrawn="1"/>
          </p:nvSpPr>
          <p:spPr bwMode="auto">
            <a:xfrm>
              <a:off x="7673975" y="5726113"/>
              <a:ext cx="127000" cy="68263"/>
            </a:xfrm>
            <a:custGeom>
              <a:avLst/>
              <a:gdLst>
                <a:gd name="T0" fmla="*/ 351 w 480"/>
                <a:gd name="T1" fmla="*/ 0 h 257"/>
                <a:gd name="T2" fmla="*/ 381 w 480"/>
                <a:gd name="T3" fmla="*/ 4 h 257"/>
                <a:gd name="T4" fmla="*/ 408 w 480"/>
                <a:gd name="T5" fmla="*/ 13 h 257"/>
                <a:gd name="T6" fmla="*/ 432 w 480"/>
                <a:gd name="T7" fmla="*/ 27 h 257"/>
                <a:gd name="T8" fmla="*/ 451 w 480"/>
                <a:gd name="T9" fmla="*/ 47 h 257"/>
                <a:gd name="T10" fmla="*/ 467 w 480"/>
                <a:gd name="T11" fmla="*/ 70 h 257"/>
                <a:gd name="T12" fmla="*/ 476 w 480"/>
                <a:gd name="T13" fmla="*/ 96 h 257"/>
                <a:gd name="T14" fmla="*/ 480 w 480"/>
                <a:gd name="T15" fmla="*/ 126 h 257"/>
                <a:gd name="T16" fmla="*/ 477 w 480"/>
                <a:gd name="T17" fmla="*/ 155 h 257"/>
                <a:gd name="T18" fmla="*/ 468 w 480"/>
                <a:gd name="T19" fmla="*/ 181 h 257"/>
                <a:gd name="T20" fmla="*/ 453 w 480"/>
                <a:gd name="T21" fmla="*/ 205 h 257"/>
                <a:gd name="T22" fmla="*/ 434 w 480"/>
                <a:gd name="T23" fmla="*/ 226 h 257"/>
                <a:gd name="T24" fmla="*/ 410 w 480"/>
                <a:gd name="T25" fmla="*/ 240 h 257"/>
                <a:gd name="T26" fmla="*/ 384 w 480"/>
                <a:gd name="T27" fmla="*/ 251 h 257"/>
                <a:gd name="T28" fmla="*/ 355 w 480"/>
                <a:gd name="T29" fmla="*/ 254 h 257"/>
                <a:gd name="T30" fmla="*/ 129 w 480"/>
                <a:gd name="T31" fmla="*/ 257 h 257"/>
                <a:gd name="T32" fmla="*/ 100 w 480"/>
                <a:gd name="T33" fmla="*/ 254 h 257"/>
                <a:gd name="T34" fmla="*/ 73 w 480"/>
                <a:gd name="T35" fmla="*/ 245 h 257"/>
                <a:gd name="T36" fmla="*/ 49 w 480"/>
                <a:gd name="T37" fmla="*/ 230 h 257"/>
                <a:gd name="T38" fmla="*/ 29 w 480"/>
                <a:gd name="T39" fmla="*/ 211 h 257"/>
                <a:gd name="T40" fmla="*/ 14 w 480"/>
                <a:gd name="T41" fmla="*/ 187 h 257"/>
                <a:gd name="T42" fmla="*/ 3 w 480"/>
                <a:gd name="T43" fmla="*/ 161 h 257"/>
                <a:gd name="T44" fmla="*/ 0 w 480"/>
                <a:gd name="T45" fmla="*/ 132 h 257"/>
                <a:gd name="T46" fmla="*/ 3 w 480"/>
                <a:gd name="T47" fmla="*/ 102 h 257"/>
                <a:gd name="T48" fmla="*/ 12 w 480"/>
                <a:gd name="T49" fmla="*/ 76 h 257"/>
                <a:gd name="T50" fmla="*/ 27 w 480"/>
                <a:gd name="T51" fmla="*/ 52 h 257"/>
                <a:gd name="T52" fmla="*/ 46 w 480"/>
                <a:gd name="T53" fmla="*/ 32 h 257"/>
                <a:gd name="T54" fmla="*/ 70 w 480"/>
                <a:gd name="T55" fmla="*/ 17 h 257"/>
                <a:gd name="T56" fmla="*/ 96 w 480"/>
                <a:gd name="T57" fmla="*/ 7 h 257"/>
                <a:gd name="T58" fmla="*/ 126 w 480"/>
                <a:gd name="T59" fmla="*/ 4 h 257"/>
                <a:gd name="T60" fmla="*/ 351 w 480"/>
                <a:gd name="T6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0" h="257">
                  <a:moveTo>
                    <a:pt x="351" y="0"/>
                  </a:moveTo>
                  <a:lnTo>
                    <a:pt x="381" y="4"/>
                  </a:lnTo>
                  <a:lnTo>
                    <a:pt x="408" y="13"/>
                  </a:lnTo>
                  <a:lnTo>
                    <a:pt x="432" y="27"/>
                  </a:lnTo>
                  <a:lnTo>
                    <a:pt x="451" y="47"/>
                  </a:lnTo>
                  <a:lnTo>
                    <a:pt x="467" y="70"/>
                  </a:lnTo>
                  <a:lnTo>
                    <a:pt x="476" y="96"/>
                  </a:lnTo>
                  <a:lnTo>
                    <a:pt x="480" y="126"/>
                  </a:lnTo>
                  <a:lnTo>
                    <a:pt x="477" y="155"/>
                  </a:lnTo>
                  <a:lnTo>
                    <a:pt x="468" y="181"/>
                  </a:lnTo>
                  <a:lnTo>
                    <a:pt x="453" y="205"/>
                  </a:lnTo>
                  <a:lnTo>
                    <a:pt x="434" y="226"/>
                  </a:lnTo>
                  <a:lnTo>
                    <a:pt x="410" y="240"/>
                  </a:lnTo>
                  <a:lnTo>
                    <a:pt x="384" y="251"/>
                  </a:lnTo>
                  <a:lnTo>
                    <a:pt x="355" y="254"/>
                  </a:lnTo>
                  <a:lnTo>
                    <a:pt x="129" y="257"/>
                  </a:lnTo>
                  <a:lnTo>
                    <a:pt x="100" y="254"/>
                  </a:lnTo>
                  <a:lnTo>
                    <a:pt x="73" y="245"/>
                  </a:lnTo>
                  <a:lnTo>
                    <a:pt x="49" y="230"/>
                  </a:lnTo>
                  <a:lnTo>
                    <a:pt x="29" y="211"/>
                  </a:lnTo>
                  <a:lnTo>
                    <a:pt x="14" y="187"/>
                  </a:lnTo>
                  <a:lnTo>
                    <a:pt x="3" y="161"/>
                  </a:lnTo>
                  <a:lnTo>
                    <a:pt x="0" y="132"/>
                  </a:lnTo>
                  <a:lnTo>
                    <a:pt x="3" y="102"/>
                  </a:lnTo>
                  <a:lnTo>
                    <a:pt x="12" y="76"/>
                  </a:lnTo>
                  <a:lnTo>
                    <a:pt x="27" y="52"/>
                  </a:lnTo>
                  <a:lnTo>
                    <a:pt x="46" y="32"/>
                  </a:lnTo>
                  <a:lnTo>
                    <a:pt x="70" y="17"/>
                  </a:lnTo>
                  <a:lnTo>
                    <a:pt x="96" y="7"/>
                  </a:lnTo>
                  <a:lnTo>
                    <a:pt x="126" y="4"/>
                  </a:lnTo>
                  <a:lnTo>
                    <a:pt x="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5" name="Freeform 10"/>
            <p:cNvSpPr>
              <a:spLocks/>
            </p:cNvSpPr>
            <p:nvPr userDrawn="1"/>
          </p:nvSpPr>
          <p:spPr bwMode="auto">
            <a:xfrm>
              <a:off x="7742238" y="5629275"/>
              <a:ext cx="117475" cy="692150"/>
            </a:xfrm>
            <a:custGeom>
              <a:avLst/>
              <a:gdLst>
                <a:gd name="T0" fmla="*/ 221 w 441"/>
                <a:gd name="T1" fmla="*/ 0 h 2616"/>
                <a:gd name="T2" fmla="*/ 261 w 441"/>
                <a:gd name="T3" fmla="*/ 4 h 2616"/>
                <a:gd name="T4" fmla="*/ 298 w 441"/>
                <a:gd name="T5" fmla="*/ 14 h 2616"/>
                <a:gd name="T6" fmla="*/ 332 w 441"/>
                <a:gd name="T7" fmla="*/ 31 h 2616"/>
                <a:gd name="T8" fmla="*/ 363 w 441"/>
                <a:gd name="T9" fmla="*/ 53 h 2616"/>
                <a:gd name="T10" fmla="*/ 390 w 441"/>
                <a:gd name="T11" fmla="*/ 79 h 2616"/>
                <a:gd name="T12" fmla="*/ 412 w 441"/>
                <a:gd name="T13" fmla="*/ 110 h 2616"/>
                <a:gd name="T14" fmla="*/ 428 w 441"/>
                <a:gd name="T15" fmla="*/ 144 h 2616"/>
                <a:gd name="T16" fmla="*/ 438 w 441"/>
                <a:gd name="T17" fmla="*/ 182 h 2616"/>
                <a:gd name="T18" fmla="*/ 441 w 441"/>
                <a:gd name="T19" fmla="*/ 221 h 2616"/>
                <a:gd name="T20" fmla="*/ 441 w 441"/>
                <a:gd name="T21" fmla="*/ 2395 h 2616"/>
                <a:gd name="T22" fmla="*/ 438 w 441"/>
                <a:gd name="T23" fmla="*/ 2435 h 2616"/>
                <a:gd name="T24" fmla="*/ 428 w 441"/>
                <a:gd name="T25" fmla="*/ 2472 h 2616"/>
                <a:gd name="T26" fmla="*/ 412 w 441"/>
                <a:gd name="T27" fmla="*/ 2507 h 2616"/>
                <a:gd name="T28" fmla="*/ 390 w 441"/>
                <a:gd name="T29" fmla="*/ 2538 h 2616"/>
                <a:gd name="T30" fmla="*/ 363 w 441"/>
                <a:gd name="T31" fmla="*/ 2564 h 2616"/>
                <a:gd name="T32" fmla="*/ 332 w 441"/>
                <a:gd name="T33" fmla="*/ 2587 h 2616"/>
                <a:gd name="T34" fmla="*/ 298 w 441"/>
                <a:gd name="T35" fmla="*/ 2602 h 2616"/>
                <a:gd name="T36" fmla="*/ 261 w 441"/>
                <a:gd name="T37" fmla="*/ 2613 h 2616"/>
                <a:gd name="T38" fmla="*/ 221 w 441"/>
                <a:gd name="T39" fmla="*/ 2616 h 2616"/>
                <a:gd name="T40" fmla="*/ 182 w 441"/>
                <a:gd name="T41" fmla="*/ 2613 h 2616"/>
                <a:gd name="T42" fmla="*/ 144 w 441"/>
                <a:gd name="T43" fmla="*/ 2602 h 2616"/>
                <a:gd name="T44" fmla="*/ 109 w 441"/>
                <a:gd name="T45" fmla="*/ 2587 h 2616"/>
                <a:gd name="T46" fmla="*/ 79 w 441"/>
                <a:gd name="T47" fmla="*/ 2564 h 2616"/>
                <a:gd name="T48" fmla="*/ 53 w 441"/>
                <a:gd name="T49" fmla="*/ 2538 h 2616"/>
                <a:gd name="T50" fmla="*/ 31 w 441"/>
                <a:gd name="T51" fmla="*/ 2507 h 2616"/>
                <a:gd name="T52" fmla="*/ 14 w 441"/>
                <a:gd name="T53" fmla="*/ 2472 h 2616"/>
                <a:gd name="T54" fmla="*/ 4 w 441"/>
                <a:gd name="T55" fmla="*/ 2435 h 2616"/>
                <a:gd name="T56" fmla="*/ 0 w 441"/>
                <a:gd name="T57" fmla="*/ 2395 h 2616"/>
                <a:gd name="T58" fmla="*/ 0 w 441"/>
                <a:gd name="T59" fmla="*/ 221 h 2616"/>
                <a:gd name="T60" fmla="*/ 4 w 441"/>
                <a:gd name="T61" fmla="*/ 182 h 2616"/>
                <a:gd name="T62" fmla="*/ 14 w 441"/>
                <a:gd name="T63" fmla="*/ 144 h 2616"/>
                <a:gd name="T64" fmla="*/ 31 w 441"/>
                <a:gd name="T65" fmla="*/ 110 h 2616"/>
                <a:gd name="T66" fmla="*/ 53 w 441"/>
                <a:gd name="T67" fmla="*/ 79 h 2616"/>
                <a:gd name="T68" fmla="*/ 79 w 441"/>
                <a:gd name="T69" fmla="*/ 53 h 2616"/>
                <a:gd name="T70" fmla="*/ 109 w 441"/>
                <a:gd name="T71" fmla="*/ 31 h 2616"/>
                <a:gd name="T72" fmla="*/ 144 w 441"/>
                <a:gd name="T73" fmla="*/ 14 h 2616"/>
                <a:gd name="T74" fmla="*/ 182 w 441"/>
                <a:gd name="T75" fmla="*/ 4 h 2616"/>
                <a:gd name="T76" fmla="*/ 221 w 441"/>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1" h="2616">
                  <a:moveTo>
                    <a:pt x="221" y="0"/>
                  </a:moveTo>
                  <a:lnTo>
                    <a:pt x="261" y="4"/>
                  </a:lnTo>
                  <a:lnTo>
                    <a:pt x="298" y="14"/>
                  </a:lnTo>
                  <a:lnTo>
                    <a:pt x="332" y="31"/>
                  </a:lnTo>
                  <a:lnTo>
                    <a:pt x="363" y="53"/>
                  </a:lnTo>
                  <a:lnTo>
                    <a:pt x="390" y="79"/>
                  </a:lnTo>
                  <a:lnTo>
                    <a:pt x="412" y="110"/>
                  </a:lnTo>
                  <a:lnTo>
                    <a:pt x="428" y="144"/>
                  </a:lnTo>
                  <a:lnTo>
                    <a:pt x="438" y="182"/>
                  </a:lnTo>
                  <a:lnTo>
                    <a:pt x="441" y="221"/>
                  </a:lnTo>
                  <a:lnTo>
                    <a:pt x="441" y="2395"/>
                  </a:lnTo>
                  <a:lnTo>
                    <a:pt x="438" y="2435"/>
                  </a:lnTo>
                  <a:lnTo>
                    <a:pt x="428" y="2472"/>
                  </a:lnTo>
                  <a:lnTo>
                    <a:pt x="412" y="2507"/>
                  </a:lnTo>
                  <a:lnTo>
                    <a:pt x="390" y="2538"/>
                  </a:lnTo>
                  <a:lnTo>
                    <a:pt x="363" y="2564"/>
                  </a:lnTo>
                  <a:lnTo>
                    <a:pt x="332" y="2587"/>
                  </a:lnTo>
                  <a:lnTo>
                    <a:pt x="298" y="2602"/>
                  </a:lnTo>
                  <a:lnTo>
                    <a:pt x="261" y="2613"/>
                  </a:lnTo>
                  <a:lnTo>
                    <a:pt x="221" y="2616"/>
                  </a:lnTo>
                  <a:lnTo>
                    <a:pt x="182" y="2613"/>
                  </a:lnTo>
                  <a:lnTo>
                    <a:pt x="144" y="2602"/>
                  </a:lnTo>
                  <a:lnTo>
                    <a:pt x="109" y="2587"/>
                  </a:lnTo>
                  <a:lnTo>
                    <a:pt x="79" y="2564"/>
                  </a:lnTo>
                  <a:lnTo>
                    <a:pt x="53" y="2538"/>
                  </a:lnTo>
                  <a:lnTo>
                    <a:pt x="31" y="2507"/>
                  </a:lnTo>
                  <a:lnTo>
                    <a:pt x="14" y="2472"/>
                  </a:lnTo>
                  <a:lnTo>
                    <a:pt x="4" y="2435"/>
                  </a:lnTo>
                  <a:lnTo>
                    <a:pt x="0" y="2395"/>
                  </a:lnTo>
                  <a:lnTo>
                    <a:pt x="0" y="221"/>
                  </a:lnTo>
                  <a:lnTo>
                    <a:pt x="4" y="182"/>
                  </a:lnTo>
                  <a:lnTo>
                    <a:pt x="14" y="144"/>
                  </a:lnTo>
                  <a:lnTo>
                    <a:pt x="31" y="110"/>
                  </a:lnTo>
                  <a:lnTo>
                    <a:pt x="53" y="79"/>
                  </a:lnTo>
                  <a:lnTo>
                    <a:pt x="79" y="53"/>
                  </a:lnTo>
                  <a:lnTo>
                    <a:pt x="109" y="31"/>
                  </a:lnTo>
                  <a:lnTo>
                    <a:pt x="144" y="14"/>
                  </a:lnTo>
                  <a:lnTo>
                    <a:pt x="182"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6" name="Freeform 11"/>
            <p:cNvSpPr>
              <a:spLocks/>
            </p:cNvSpPr>
            <p:nvPr userDrawn="1"/>
          </p:nvSpPr>
          <p:spPr bwMode="auto">
            <a:xfrm>
              <a:off x="8532813" y="5726113"/>
              <a:ext cx="127000" cy="68263"/>
            </a:xfrm>
            <a:custGeom>
              <a:avLst/>
              <a:gdLst>
                <a:gd name="T0" fmla="*/ 351 w 481"/>
                <a:gd name="T1" fmla="*/ 0 h 257"/>
                <a:gd name="T2" fmla="*/ 381 w 481"/>
                <a:gd name="T3" fmla="*/ 4 h 257"/>
                <a:gd name="T4" fmla="*/ 408 w 481"/>
                <a:gd name="T5" fmla="*/ 13 h 257"/>
                <a:gd name="T6" fmla="*/ 432 w 481"/>
                <a:gd name="T7" fmla="*/ 27 h 257"/>
                <a:gd name="T8" fmla="*/ 451 w 481"/>
                <a:gd name="T9" fmla="*/ 47 h 257"/>
                <a:gd name="T10" fmla="*/ 467 w 481"/>
                <a:gd name="T11" fmla="*/ 70 h 257"/>
                <a:gd name="T12" fmla="*/ 477 w 481"/>
                <a:gd name="T13" fmla="*/ 96 h 257"/>
                <a:gd name="T14" fmla="*/ 481 w 481"/>
                <a:gd name="T15" fmla="*/ 126 h 257"/>
                <a:gd name="T16" fmla="*/ 477 w 481"/>
                <a:gd name="T17" fmla="*/ 155 h 257"/>
                <a:gd name="T18" fmla="*/ 468 w 481"/>
                <a:gd name="T19" fmla="*/ 181 h 257"/>
                <a:gd name="T20" fmla="*/ 453 w 481"/>
                <a:gd name="T21" fmla="*/ 205 h 257"/>
                <a:gd name="T22" fmla="*/ 434 w 481"/>
                <a:gd name="T23" fmla="*/ 226 h 257"/>
                <a:gd name="T24" fmla="*/ 410 w 481"/>
                <a:gd name="T25" fmla="*/ 240 h 257"/>
                <a:gd name="T26" fmla="*/ 384 w 481"/>
                <a:gd name="T27" fmla="*/ 251 h 257"/>
                <a:gd name="T28" fmla="*/ 355 w 481"/>
                <a:gd name="T29" fmla="*/ 254 h 257"/>
                <a:gd name="T30" fmla="*/ 129 w 481"/>
                <a:gd name="T31" fmla="*/ 257 h 257"/>
                <a:gd name="T32" fmla="*/ 100 w 481"/>
                <a:gd name="T33" fmla="*/ 254 h 257"/>
                <a:gd name="T34" fmla="*/ 73 w 481"/>
                <a:gd name="T35" fmla="*/ 245 h 257"/>
                <a:gd name="T36" fmla="*/ 49 w 481"/>
                <a:gd name="T37" fmla="*/ 230 h 257"/>
                <a:gd name="T38" fmla="*/ 30 w 481"/>
                <a:gd name="T39" fmla="*/ 211 h 257"/>
                <a:gd name="T40" fmla="*/ 14 w 481"/>
                <a:gd name="T41" fmla="*/ 187 h 257"/>
                <a:gd name="T42" fmla="*/ 4 w 481"/>
                <a:gd name="T43" fmla="*/ 161 h 257"/>
                <a:gd name="T44" fmla="*/ 0 w 481"/>
                <a:gd name="T45" fmla="*/ 132 h 257"/>
                <a:gd name="T46" fmla="*/ 4 w 481"/>
                <a:gd name="T47" fmla="*/ 102 h 257"/>
                <a:gd name="T48" fmla="*/ 13 w 481"/>
                <a:gd name="T49" fmla="*/ 76 h 257"/>
                <a:gd name="T50" fmla="*/ 27 w 481"/>
                <a:gd name="T51" fmla="*/ 52 h 257"/>
                <a:gd name="T52" fmla="*/ 47 w 481"/>
                <a:gd name="T53" fmla="*/ 32 h 257"/>
                <a:gd name="T54" fmla="*/ 70 w 481"/>
                <a:gd name="T55" fmla="*/ 17 h 257"/>
                <a:gd name="T56" fmla="*/ 97 w 481"/>
                <a:gd name="T57" fmla="*/ 7 h 257"/>
                <a:gd name="T58" fmla="*/ 126 w 481"/>
                <a:gd name="T59" fmla="*/ 4 h 257"/>
                <a:gd name="T60" fmla="*/ 351 w 481"/>
                <a:gd name="T6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257">
                  <a:moveTo>
                    <a:pt x="351" y="0"/>
                  </a:moveTo>
                  <a:lnTo>
                    <a:pt x="381" y="4"/>
                  </a:lnTo>
                  <a:lnTo>
                    <a:pt x="408" y="13"/>
                  </a:lnTo>
                  <a:lnTo>
                    <a:pt x="432" y="27"/>
                  </a:lnTo>
                  <a:lnTo>
                    <a:pt x="451" y="47"/>
                  </a:lnTo>
                  <a:lnTo>
                    <a:pt x="467" y="70"/>
                  </a:lnTo>
                  <a:lnTo>
                    <a:pt x="477" y="96"/>
                  </a:lnTo>
                  <a:lnTo>
                    <a:pt x="481" y="126"/>
                  </a:lnTo>
                  <a:lnTo>
                    <a:pt x="477" y="155"/>
                  </a:lnTo>
                  <a:lnTo>
                    <a:pt x="468" y="181"/>
                  </a:lnTo>
                  <a:lnTo>
                    <a:pt x="453" y="205"/>
                  </a:lnTo>
                  <a:lnTo>
                    <a:pt x="434" y="226"/>
                  </a:lnTo>
                  <a:lnTo>
                    <a:pt x="410" y="240"/>
                  </a:lnTo>
                  <a:lnTo>
                    <a:pt x="384" y="251"/>
                  </a:lnTo>
                  <a:lnTo>
                    <a:pt x="355" y="254"/>
                  </a:lnTo>
                  <a:lnTo>
                    <a:pt x="129" y="257"/>
                  </a:lnTo>
                  <a:lnTo>
                    <a:pt x="100" y="254"/>
                  </a:lnTo>
                  <a:lnTo>
                    <a:pt x="73" y="245"/>
                  </a:lnTo>
                  <a:lnTo>
                    <a:pt x="49" y="230"/>
                  </a:lnTo>
                  <a:lnTo>
                    <a:pt x="30" y="211"/>
                  </a:lnTo>
                  <a:lnTo>
                    <a:pt x="14" y="187"/>
                  </a:lnTo>
                  <a:lnTo>
                    <a:pt x="4" y="161"/>
                  </a:lnTo>
                  <a:lnTo>
                    <a:pt x="0" y="132"/>
                  </a:lnTo>
                  <a:lnTo>
                    <a:pt x="4" y="102"/>
                  </a:lnTo>
                  <a:lnTo>
                    <a:pt x="13" y="76"/>
                  </a:lnTo>
                  <a:lnTo>
                    <a:pt x="27" y="52"/>
                  </a:lnTo>
                  <a:lnTo>
                    <a:pt x="47" y="32"/>
                  </a:lnTo>
                  <a:lnTo>
                    <a:pt x="70" y="17"/>
                  </a:lnTo>
                  <a:lnTo>
                    <a:pt x="97" y="7"/>
                  </a:lnTo>
                  <a:lnTo>
                    <a:pt x="126" y="4"/>
                  </a:lnTo>
                  <a:lnTo>
                    <a:pt x="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7" name="Freeform 12"/>
            <p:cNvSpPr>
              <a:spLocks/>
            </p:cNvSpPr>
            <p:nvPr userDrawn="1"/>
          </p:nvSpPr>
          <p:spPr bwMode="auto">
            <a:xfrm>
              <a:off x="8474075" y="5629275"/>
              <a:ext cx="117475" cy="692150"/>
            </a:xfrm>
            <a:custGeom>
              <a:avLst/>
              <a:gdLst>
                <a:gd name="T0" fmla="*/ 221 w 442"/>
                <a:gd name="T1" fmla="*/ 0 h 2616"/>
                <a:gd name="T2" fmla="*/ 261 w 442"/>
                <a:gd name="T3" fmla="*/ 4 h 2616"/>
                <a:gd name="T4" fmla="*/ 298 w 442"/>
                <a:gd name="T5" fmla="*/ 14 h 2616"/>
                <a:gd name="T6" fmla="*/ 332 w 442"/>
                <a:gd name="T7" fmla="*/ 31 h 2616"/>
                <a:gd name="T8" fmla="*/ 364 w 442"/>
                <a:gd name="T9" fmla="*/ 53 h 2616"/>
                <a:gd name="T10" fmla="*/ 390 w 442"/>
                <a:gd name="T11" fmla="*/ 79 h 2616"/>
                <a:gd name="T12" fmla="*/ 412 w 442"/>
                <a:gd name="T13" fmla="*/ 110 h 2616"/>
                <a:gd name="T14" fmla="*/ 429 w 442"/>
                <a:gd name="T15" fmla="*/ 144 h 2616"/>
                <a:gd name="T16" fmla="*/ 439 w 442"/>
                <a:gd name="T17" fmla="*/ 182 h 2616"/>
                <a:gd name="T18" fmla="*/ 442 w 442"/>
                <a:gd name="T19" fmla="*/ 221 h 2616"/>
                <a:gd name="T20" fmla="*/ 442 w 442"/>
                <a:gd name="T21" fmla="*/ 2395 h 2616"/>
                <a:gd name="T22" fmla="*/ 439 w 442"/>
                <a:gd name="T23" fmla="*/ 2435 h 2616"/>
                <a:gd name="T24" fmla="*/ 429 w 442"/>
                <a:gd name="T25" fmla="*/ 2472 h 2616"/>
                <a:gd name="T26" fmla="*/ 412 w 442"/>
                <a:gd name="T27" fmla="*/ 2507 h 2616"/>
                <a:gd name="T28" fmla="*/ 390 w 442"/>
                <a:gd name="T29" fmla="*/ 2538 h 2616"/>
                <a:gd name="T30" fmla="*/ 364 w 442"/>
                <a:gd name="T31" fmla="*/ 2564 h 2616"/>
                <a:gd name="T32" fmla="*/ 332 w 442"/>
                <a:gd name="T33" fmla="*/ 2587 h 2616"/>
                <a:gd name="T34" fmla="*/ 298 w 442"/>
                <a:gd name="T35" fmla="*/ 2602 h 2616"/>
                <a:gd name="T36" fmla="*/ 261 w 442"/>
                <a:gd name="T37" fmla="*/ 2613 h 2616"/>
                <a:gd name="T38" fmla="*/ 221 w 442"/>
                <a:gd name="T39" fmla="*/ 2616 h 2616"/>
                <a:gd name="T40" fmla="*/ 182 w 442"/>
                <a:gd name="T41" fmla="*/ 2613 h 2616"/>
                <a:gd name="T42" fmla="*/ 144 w 442"/>
                <a:gd name="T43" fmla="*/ 2602 h 2616"/>
                <a:gd name="T44" fmla="*/ 110 w 442"/>
                <a:gd name="T45" fmla="*/ 2587 h 2616"/>
                <a:gd name="T46" fmla="*/ 80 w 442"/>
                <a:gd name="T47" fmla="*/ 2564 h 2616"/>
                <a:gd name="T48" fmla="*/ 52 w 442"/>
                <a:gd name="T49" fmla="*/ 2538 h 2616"/>
                <a:gd name="T50" fmla="*/ 31 w 442"/>
                <a:gd name="T51" fmla="*/ 2507 h 2616"/>
                <a:gd name="T52" fmla="*/ 15 w 442"/>
                <a:gd name="T53" fmla="*/ 2472 h 2616"/>
                <a:gd name="T54" fmla="*/ 5 w 442"/>
                <a:gd name="T55" fmla="*/ 2435 h 2616"/>
                <a:gd name="T56" fmla="*/ 0 w 442"/>
                <a:gd name="T57" fmla="*/ 2395 h 2616"/>
                <a:gd name="T58" fmla="*/ 0 w 442"/>
                <a:gd name="T59" fmla="*/ 221 h 2616"/>
                <a:gd name="T60" fmla="*/ 5 w 442"/>
                <a:gd name="T61" fmla="*/ 182 h 2616"/>
                <a:gd name="T62" fmla="*/ 15 w 442"/>
                <a:gd name="T63" fmla="*/ 144 h 2616"/>
                <a:gd name="T64" fmla="*/ 31 w 442"/>
                <a:gd name="T65" fmla="*/ 110 h 2616"/>
                <a:gd name="T66" fmla="*/ 52 w 442"/>
                <a:gd name="T67" fmla="*/ 79 h 2616"/>
                <a:gd name="T68" fmla="*/ 80 w 442"/>
                <a:gd name="T69" fmla="*/ 53 h 2616"/>
                <a:gd name="T70" fmla="*/ 110 w 442"/>
                <a:gd name="T71" fmla="*/ 31 h 2616"/>
                <a:gd name="T72" fmla="*/ 144 w 442"/>
                <a:gd name="T73" fmla="*/ 14 h 2616"/>
                <a:gd name="T74" fmla="*/ 182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1" y="4"/>
                  </a:lnTo>
                  <a:lnTo>
                    <a:pt x="298" y="14"/>
                  </a:lnTo>
                  <a:lnTo>
                    <a:pt x="332" y="31"/>
                  </a:lnTo>
                  <a:lnTo>
                    <a:pt x="364" y="53"/>
                  </a:lnTo>
                  <a:lnTo>
                    <a:pt x="390" y="79"/>
                  </a:lnTo>
                  <a:lnTo>
                    <a:pt x="412" y="110"/>
                  </a:lnTo>
                  <a:lnTo>
                    <a:pt x="429" y="144"/>
                  </a:lnTo>
                  <a:lnTo>
                    <a:pt x="439" y="182"/>
                  </a:lnTo>
                  <a:lnTo>
                    <a:pt x="442" y="221"/>
                  </a:lnTo>
                  <a:lnTo>
                    <a:pt x="442" y="2395"/>
                  </a:lnTo>
                  <a:lnTo>
                    <a:pt x="439" y="2435"/>
                  </a:lnTo>
                  <a:lnTo>
                    <a:pt x="429" y="2472"/>
                  </a:lnTo>
                  <a:lnTo>
                    <a:pt x="412" y="2507"/>
                  </a:lnTo>
                  <a:lnTo>
                    <a:pt x="390" y="2538"/>
                  </a:lnTo>
                  <a:lnTo>
                    <a:pt x="364" y="2564"/>
                  </a:lnTo>
                  <a:lnTo>
                    <a:pt x="332" y="2587"/>
                  </a:lnTo>
                  <a:lnTo>
                    <a:pt x="298" y="2602"/>
                  </a:lnTo>
                  <a:lnTo>
                    <a:pt x="261" y="2613"/>
                  </a:lnTo>
                  <a:lnTo>
                    <a:pt x="221" y="2616"/>
                  </a:lnTo>
                  <a:lnTo>
                    <a:pt x="182" y="2613"/>
                  </a:lnTo>
                  <a:lnTo>
                    <a:pt x="144" y="2602"/>
                  </a:lnTo>
                  <a:lnTo>
                    <a:pt x="110" y="2587"/>
                  </a:lnTo>
                  <a:lnTo>
                    <a:pt x="80" y="2564"/>
                  </a:lnTo>
                  <a:lnTo>
                    <a:pt x="52" y="2538"/>
                  </a:lnTo>
                  <a:lnTo>
                    <a:pt x="31" y="2507"/>
                  </a:lnTo>
                  <a:lnTo>
                    <a:pt x="15" y="2472"/>
                  </a:lnTo>
                  <a:lnTo>
                    <a:pt x="5" y="2435"/>
                  </a:lnTo>
                  <a:lnTo>
                    <a:pt x="0" y="2395"/>
                  </a:lnTo>
                  <a:lnTo>
                    <a:pt x="0" y="221"/>
                  </a:lnTo>
                  <a:lnTo>
                    <a:pt x="5" y="182"/>
                  </a:lnTo>
                  <a:lnTo>
                    <a:pt x="15" y="144"/>
                  </a:lnTo>
                  <a:lnTo>
                    <a:pt x="31" y="110"/>
                  </a:lnTo>
                  <a:lnTo>
                    <a:pt x="52" y="79"/>
                  </a:lnTo>
                  <a:lnTo>
                    <a:pt x="80" y="53"/>
                  </a:lnTo>
                  <a:lnTo>
                    <a:pt x="110" y="31"/>
                  </a:lnTo>
                  <a:lnTo>
                    <a:pt x="144" y="14"/>
                  </a:lnTo>
                  <a:lnTo>
                    <a:pt x="182"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grpSp>
    </p:spTree>
    <p:extLst>
      <p:ext uri="{BB962C8B-B14F-4D97-AF65-F5344CB8AC3E}">
        <p14:creationId xmlns:p14="http://schemas.microsoft.com/office/powerpoint/2010/main" val="2934598973"/>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obsah – lidé">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a:t>
            </a:r>
            <a:r>
              <a:rPr lang="cs-CZ"/>
              <a:t>NADPIS SNÍMKU – lidé</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1999"/>
            <a:ext cx="8136000" cy="4629427"/>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0" name="Freeform 6"/>
          <p:cNvSpPr>
            <a:spLocks/>
          </p:cNvSpPr>
          <p:nvPr userDrawn="1"/>
        </p:nvSpPr>
        <p:spPr bwMode="auto">
          <a:xfrm>
            <a:off x="7735890" y="5488473"/>
            <a:ext cx="950913" cy="868363"/>
          </a:xfrm>
          <a:custGeom>
            <a:avLst/>
            <a:gdLst>
              <a:gd name="T0" fmla="*/ 1199 w 3591"/>
              <a:gd name="T1" fmla="*/ 11 h 3285"/>
              <a:gd name="T2" fmla="*/ 1414 w 3591"/>
              <a:gd name="T3" fmla="*/ 65 h 3285"/>
              <a:gd name="T4" fmla="*/ 1616 w 3591"/>
              <a:gd name="T5" fmla="*/ 165 h 3285"/>
              <a:gd name="T6" fmla="*/ 1796 w 3591"/>
              <a:gd name="T7" fmla="*/ 310 h 3285"/>
              <a:gd name="T8" fmla="*/ 1977 w 3591"/>
              <a:gd name="T9" fmla="*/ 165 h 3285"/>
              <a:gd name="T10" fmla="*/ 2177 w 3591"/>
              <a:gd name="T11" fmla="*/ 65 h 3285"/>
              <a:gd name="T12" fmla="*/ 2392 w 3591"/>
              <a:gd name="T13" fmla="*/ 11 h 3285"/>
              <a:gd name="T14" fmla="*/ 2612 w 3591"/>
              <a:gd name="T15" fmla="*/ 2 h 3285"/>
              <a:gd name="T16" fmla="*/ 2830 w 3591"/>
              <a:gd name="T17" fmla="*/ 41 h 3285"/>
              <a:gd name="T18" fmla="*/ 3036 w 3591"/>
              <a:gd name="T19" fmla="*/ 124 h 3285"/>
              <a:gd name="T20" fmla="*/ 3226 w 3591"/>
              <a:gd name="T21" fmla="*/ 253 h 3285"/>
              <a:gd name="T22" fmla="*/ 3385 w 3591"/>
              <a:gd name="T23" fmla="*/ 424 h 3285"/>
              <a:gd name="T24" fmla="*/ 3501 w 3591"/>
              <a:gd name="T25" fmla="*/ 619 h 3285"/>
              <a:gd name="T26" fmla="*/ 3569 w 3591"/>
              <a:gd name="T27" fmla="*/ 830 h 3285"/>
              <a:gd name="T28" fmla="*/ 3591 w 3591"/>
              <a:gd name="T29" fmla="*/ 1052 h 3285"/>
              <a:gd name="T30" fmla="*/ 3565 w 3591"/>
              <a:gd name="T31" fmla="*/ 1274 h 3285"/>
              <a:gd name="T32" fmla="*/ 3490 w 3591"/>
              <a:gd name="T33" fmla="*/ 1494 h 3285"/>
              <a:gd name="T34" fmla="*/ 3363 w 3591"/>
              <a:gd name="T35" fmla="*/ 1701 h 3285"/>
              <a:gd name="T36" fmla="*/ 3202 w 3591"/>
              <a:gd name="T37" fmla="*/ 1879 h 3285"/>
              <a:gd name="T38" fmla="*/ 3043 w 3591"/>
              <a:gd name="T39" fmla="*/ 2038 h 3285"/>
              <a:gd name="T40" fmla="*/ 2873 w 3591"/>
              <a:gd name="T41" fmla="*/ 2207 h 3285"/>
              <a:gd name="T42" fmla="*/ 2700 w 3591"/>
              <a:gd name="T43" fmla="*/ 2381 h 3285"/>
              <a:gd name="T44" fmla="*/ 2528 w 3591"/>
              <a:gd name="T45" fmla="*/ 2553 h 3285"/>
              <a:gd name="T46" fmla="*/ 2360 w 3591"/>
              <a:gd name="T47" fmla="*/ 2721 h 3285"/>
              <a:gd name="T48" fmla="*/ 2204 w 3591"/>
              <a:gd name="T49" fmla="*/ 2877 h 3285"/>
              <a:gd name="T50" fmla="*/ 2064 w 3591"/>
              <a:gd name="T51" fmla="*/ 3017 h 3285"/>
              <a:gd name="T52" fmla="*/ 1946 w 3591"/>
              <a:gd name="T53" fmla="*/ 3136 h 3285"/>
              <a:gd name="T54" fmla="*/ 1855 w 3591"/>
              <a:gd name="T55" fmla="*/ 3226 h 3285"/>
              <a:gd name="T56" fmla="*/ 1796 w 3591"/>
              <a:gd name="T57" fmla="*/ 3285 h 3285"/>
              <a:gd name="T58" fmla="*/ 1737 w 3591"/>
              <a:gd name="T59" fmla="*/ 3226 h 3285"/>
              <a:gd name="T60" fmla="*/ 1646 w 3591"/>
              <a:gd name="T61" fmla="*/ 3136 h 3285"/>
              <a:gd name="T62" fmla="*/ 1527 w 3591"/>
              <a:gd name="T63" fmla="*/ 3017 h 3285"/>
              <a:gd name="T64" fmla="*/ 1388 w 3591"/>
              <a:gd name="T65" fmla="*/ 2877 h 3285"/>
              <a:gd name="T66" fmla="*/ 1232 w 3591"/>
              <a:gd name="T67" fmla="*/ 2721 h 3285"/>
              <a:gd name="T68" fmla="*/ 1065 w 3591"/>
              <a:gd name="T69" fmla="*/ 2553 h 3285"/>
              <a:gd name="T70" fmla="*/ 891 w 3591"/>
              <a:gd name="T71" fmla="*/ 2381 h 3285"/>
              <a:gd name="T72" fmla="*/ 718 w 3591"/>
              <a:gd name="T73" fmla="*/ 2207 h 3285"/>
              <a:gd name="T74" fmla="*/ 549 w 3591"/>
              <a:gd name="T75" fmla="*/ 2038 h 3285"/>
              <a:gd name="T76" fmla="*/ 389 w 3591"/>
              <a:gd name="T77" fmla="*/ 1879 h 3285"/>
              <a:gd name="T78" fmla="*/ 228 w 3591"/>
              <a:gd name="T79" fmla="*/ 1701 h 3285"/>
              <a:gd name="T80" fmla="*/ 103 w 3591"/>
              <a:gd name="T81" fmla="*/ 1494 h 3285"/>
              <a:gd name="T82" fmla="*/ 26 w 3591"/>
              <a:gd name="T83" fmla="*/ 1274 h 3285"/>
              <a:gd name="T84" fmla="*/ 0 w 3591"/>
              <a:gd name="T85" fmla="*/ 1052 h 3285"/>
              <a:gd name="T86" fmla="*/ 22 w 3591"/>
              <a:gd name="T87" fmla="*/ 830 h 3285"/>
              <a:gd name="T88" fmla="*/ 91 w 3591"/>
              <a:gd name="T89" fmla="*/ 619 h 3285"/>
              <a:gd name="T90" fmla="*/ 206 w 3591"/>
              <a:gd name="T91" fmla="*/ 424 h 3285"/>
              <a:gd name="T92" fmla="*/ 367 w 3591"/>
              <a:gd name="T93" fmla="*/ 253 h 3285"/>
              <a:gd name="T94" fmla="*/ 555 w 3591"/>
              <a:gd name="T95" fmla="*/ 124 h 3285"/>
              <a:gd name="T96" fmla="*/ 763 w 3591"/>
              <a:gd name="T97" fmla="*/ 41 h 3285"/>
              <a:gd name="T98" fmla="*/ 980 w 3591"/>
              <a:gd name="T99" fmla="*/ 2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1" h="3285">
                <a:moveTo>
                  <a:pt x="1053" y="0"/>
                </a:moveTo>
                <a:lnTo>
                  <a:pt x="1127" y="2"/>
                </a:lnTo>
                <a:lnTo>
                  <a:pt x="1199" y="11"/>
                </a:lnTo>
                <a:lnTo>
                  <a:pt x="1272" y="24"/>
                </a:lnTo>
                <a:lnTo>
                  <a:pt x="1344" y="42"/>
                </a:lnTo>
                <a:lnTo>
                  <a:pt x="1414" y="65"/>
                </a:lnTo>
                <a:lnTo>
                  <a:pt x="1483" y="93"/>
                </a:lnTo>
                <a:lnTo>
                  <a:pt x="1550" y="127"/>
                </a:lnTo>
                <a:lnTo>
                  <a:pt x="1616" y="165"/>
                </a:lnTo>
                <a:lnTo>
                  <a:pt x="1678" y="209"/>
                </a:lnTo>
                <a:lnTo>
                  <a:pt x="1739" y="257"/>
                </a:lnTo>
                <a:lnTo>
                  <a:pt x="1796" y="310"/>
                </a:lnTo>
                <a:lnTo>
                  <a:pt x="1853" y="257"/>
                </a:lnTo>
                <a:lnTo>
                  <a:pt x="1913" y="209"/>
                </a:lnTo>
                <a:lnTo>
                  <a:pt x="1977" y="165"/>
                </a:lnTo>
                <a:lnTo>
                  <a:pt x="2041" y="127"/>
                </a:lnTo>
                <a:lnTo>
                  <a:pt x="2109" y="93"/>
                </a:lnTo>
                <a:lnTo>
                  <a:pt x="2177" y="65"/>
                </a:lnTo>
                <a:lnTo>
                  <a:pt x="2248" y="42"/>
                </a:lnTo>
                <a:lnTo>
                  <a:pt x="2320" y="24"/>
                </a:lnTo>
                <a:lnTo>
                  <a:pt x="2392" y="11"/>
                </a:lnTo>
                <a:lnTo>
                  <a:pt x="2465" y="2"/>
                </a:lnTo>
                <a:lnTo>
                  <a:pt x="2539" y="0"/>
                </a:lnTo>
                <a:lnTo>
                  <a:pt x="2612" y="2"/>
                </a:lnTo>
                <a:lnTo>
                  <a:pt x="2685" y="10"/>
                </a:lnTo>
                <a:lnTo>
                  <a:pt x="2758" y="22"/>
                </a:lnTo>
                <a:lnTo>
                  <a:pt x="2830" y="41"/>
                </a:lnTo>
                <a:lnTo>
                  <a:pt x="2900" y="62"/>
                </a:lnTo>
                <a:lnTo>
                  <a:pt x="2969" y="91"/>
                </a:lnTo>
                <a:lnTo>
                  <a:pt x="3036" y="124"/>
                </a:lnTo>
                <a:lnTo>
                  <a:pt x="3101" y="162"/>
                </a:lnTo>
                <a:lnTo>
                  <a:pt x="3165" y="204"/>
                </a:lnTo>
                <a:lnTo>
                  <a:pt x="3226" y="253"/>
                </a:lnTo>
                <a:lnTo>
                  <a:pt x="3284" y="306"/>
                </a:lnTo>
                <a:lnTo>
                  <a:pt x="3337" y="364"/>
                </a:lnTo>
                <a:lnTo>
                  <a:pt x="3385" y="424"/>
                </a:lnTo>
                <a:lnTo>
                  <a:pt x="3429" y="487"/>
                </a:lnTo>
                <a:lnTo>
                  <a:pt x="3468" y="552"/>
                </a:lnTo>
                <a:lnTo>
                  <a:pt x="3501" y="619"/>
                </a:lnTo>
                <a:lnTo>
                  <a:pt x="3529" y="688"/>
                </a:lnTo>
                <a:lnTo>
                  <a:pt x="3552" y="758"/>
                </a:lnTo>
                <a:lnTo>
                  <a:pt x="3569" y="830"/>
                </a:lnTo>
                <a:lnTo>
                  <a:pt x="3583" y="904"/>
                </a:lnTo>
                <a:lnTo>
                  <a:pt x="3590" y="977"/>
                </a:lnTo>
                <a:lnTo>
                  <a:pt x="3591" y="1052"/>
                </a:lnTo>
                <a:lnTo>
                  <a:pt x="3588" y="1126"/>
                </a:lnTo>
                <a:lnTo>
                  <a:pt x="3579" y="1200"/>
                </a:lnTo>
                <a:lnTo>
                  <a:pt x="3565" y="1274"/>
                </a:lnTo>
                <a:lnTo>
                  <a:pt x="3545" y="1349"/>
                </a:lnTo>
                <a:lnTo>
                  <a:pt x="3520" y="1422"/>
                </a:lnTo>
                <a:lnTo>
                  <a:pt x="3490" y="1494"/>
                </a:lnTo>
                <a:lnTo>
                  <a:pt x="3453" y="1565"/>
                </a:lnTo>
                <a:lnTo>
                  <a:pt x="3411" y="1633"/>
                </a:lnTo>
                <a:lnTo>
                  <a:pt x="3363" y="1701"/>
                </a:lnTo>
                <a:lnTo>
                  <a:pt x="3311" y="1766"/>
                </a:lnTo>
                <a:lnTo>
                  <a:pt x="3252" y="1829"/>
                </a:lnTo>
                <a:lnTo>
                  <a:pt x="3202" y="1879"/>
                </a:lnTo>
                <a:lnTo>
                  <a:pt x="3151" y="1930"/>
                </a:lnTo>
                <a:lnTo>
                  <a:pt x="3097" y="1984"/>
                </a:lnTo>
                <a:lnTo>
                  <a:pt x="3043" y="2038"/>
                </a:lnTo>
                <a:lnTo>
                  <a:pt x="2988" y="2094"/>
                </a:lnTo>
                <a:lnTo>
                  <a:pt x="2931" y="2149"/>
                </a:lnTo>
                <a:lnTo>
                  <a:pt x="2873" y="2207"/>
                </a:lnTo>
                <a:lnTo>
                  <a:pt x="2817" y="2264"/>
                </a:lnTo>
                <a:lnTo>
                  <a:pt x="2759" y="2323"/>
                </a:lnTo>
                <a:lnTo>
                  <a:pt x="2700" y="2381"/>
                </a:lnTo>
                <a:lnTo>
                  <a:pt x="2642" y="2438"/>
                </a:lnTo>
                <a:lnTo>
                  <a:pt x="2584" y="2496"/>
                </a:lnTo>
                <a:lnTo>
                  <a:pt x="2528" y="2553"/>
                </a:lnTo>
                <a:lnTo>
                  <a:pt x="2471" y="2610"/>
                </a:lnTo>
                <a:lnTo>
                  <a:pt x="2415" y="2666"/>
                </a:lnTo>
                <a:lnTo>
                  <a:pt x="2360" y="2721"/>
                </a:lnTo>
                <a:lnTo>
                  <a:pt x="2306" y="2774"/>
                </a:lnTo>
                <a:lnTo>
                  <a:pt x="2254" y="2827"/>
                </a:lnTo>
                <a:lnTo>
                  <a:pt x="2204" y="2877"/>
                </a:lnTo>
                <a:lnTo>
                  <a:pt x="2156" y="2926"/>
                </a:lnTo>
                <a:lnTo>
                  <a:pt x="2109" y="2972"/>
                </a:lnTo>
                <a:lnTo>
                  <a:pt x="2064" y="3017"/>
                </a:lnTo>
                <a:lnTo>
                  <a:pt x="2023" y="3059"/>
                </a:lnTo>
                <a:lnTo>
                  <a:pt x="1982" y="3098"/>
                </a:lnTo>
                <a:lnTo>
                  <a:pt x="1946" y="3136"/>
                </a:lnTo>
                <a:lnTo>
                  <a:pt x="1912" y="3168"/>
                </a:lnTo>
                <a:lnTo>
                  <a:pt x="1882" y="3199"/>
                </a:lnTo>
                <a:lnTo>
                  <a:pt x="1855" y="3226"/>
                </a:lnTo>
                <a:lnTo>
                  <a:pt x="1832" y="3250"/>
                </a:lnTo>
                <a:lnTo>
                  <a:pt x="1812" y="3270"/>
                </a:lnTo>
                <a:lnTo>
                  <a:pt x="1796" y="3285"/>
                </a:lnTo>
                <a:lnTo>
                  <a:pt x="1780" y="3270"/>
                </a:lnTo>
                <a:lnTo>
                  <a:pt x="1761" y="3250"/>
                </a:lnTo>
                <a:lnTo>
                  <a:pt x="1737" y="3226"/>
                </a:lnTo>
                <a:lnTo>
                  <a:pt x="1709" y="3199"/>
                </a:lnTo>
                <a:lnTo>
                  <a:pt x="1679" y="3168"/>
                </a:lnTo>
                <a:lnTo>
                  <a:pt x="1646" y="3136"/>
                </a:lnTo>
                <a:lnTo>
                  <a:pt x="1609" y="3098"/>
                </a:lnTo>
                <a:lnTo>
                  <a:pt x="1570" y="3059"/>
                </a:lnTo>
                <a:lnTo>
                  <a:pt x="1527" y="3017"/>
                </a:lnTo>
                <a:lnTo>
                  <a:pt x="1484" y="2972"/>
                </a:lnTo>
                <a:lnTo>
                  <a:pt x="1437" y="2926"/>
                </a:lnTo>
                <a:lnTo>
                  <a:pt x="1388" y="2877"/>
                </a:lnTo>
                <a:lnTo>
                  <a:pt x="1337" y="2827"/>
                </a:lnTo>
                <a:lnTo>
                  <a:pt x="1285" y="2774"/>
                </a:lnTo>
                <a:lnTo>
                  <a:pt x="1232" y="2721"/>
                </a:lnTo>
                <a:lnTo>
                  <a:pt x="1177" y="2666"/>
                </a:lnTo>
                <a:lnTo>
                  <a:pt x="1121" y="2610"/>
                </a:lnTo>
                <a:lnTo>
                  <a:pt x="1065" y="2553"/>
                </a:lnTo>
                <a:lnTo>
                  <a:pt x="1007" y="2496"/>
                </a:lnTo>
                <a:lnTo>
                  <a:pt x="949" y="2438"/>
                </a:lnTo>
                <a:lnTo>
                  <a:pt x="891" y="2381"/>
                </a:lnTo>
                <a:lnTo>
                  <a:pt x="833" y="2323"/>
                </a:lnTo>
                <a:lnTo>
                  <a:pt x="776" y="2264"/>
                </a:lnTo>
                <a:lnTo>
                  <a:pt x="718" y="2207"/>
                </a:lnTo>
                <a:lnTo>
                  <a:pt x="661" y="2149"/>
                </a:lnTo>
                <a:lnTo>
                  <a:pt x="604" y="2094"/>
                </a:lnTo>
                <a:lnTo>
                  <a:pt x="549" y="2038"/>
                </a:lnTo>
                <a:lnTo>
                  <a:pt x="494" y="1984"/>
                </a:lnTo>
                <a:lnTo>
                  <a:pt x="442" y="1930"/>
                </a:lnTo>
                <a:lnTo>
                  <a:pt x="389" y="1879"/>
                </a:lnTo>
                <a:lnTo>
                  <a:pt x="340" y="1829"/>
                </a:lnTo>
                <a:lnTo>
                  <a:pt x="281" y="1766"/>
                </a:lnTo>
                <a:lnTo>
                  <a:pt x="228" y="1701"/>
                </a:lnTo>
                <a:lnTo>
                  <a:pt x="180" y="1633"/>
                </a:lnTo>
                <a:lnTo>
                  <a:pt x="139" y="1565"/>
                </a:lnTo>
                <a:lnTo>
                  <a:pt x="103" y="1494"/>
                </a:lnTo>
                <a:lnTo>
                  <a:pt x="72" y="1422"/>
                </a:lnTo>
                <a:lnTo>
                  <a:pt x="46" y="1349"/>
                </a:lnTo>
                <a:lnTo>
                  <a:pt x="26" y="1274"/>
                </a:lnTo>
                <a:lnTo>
                  <a:pt x="12" y="1200"/>
                </a:lnTo>
                <a:lnTo>
                  <a:pt x="3" y="1126"/>
                </a:lnTo>
                <a:lnTo>
                  <a:pt x="0" y="1052"/>
                </a:lnTo>
                <a:lnTo>
                  <a:pt x="2" y="977"/>
                </a:lnTo>
                <a:lnTo>
                  <a:pt x="9" y="904"/>
                </a:lnTo>
                <a:lnTo>
                  <a:pt x="22" y="830"/>
                </a:lnTo>
                <a:lnTo>
                  <a:pt x="39" y="758"/>
                </a:lnTo>
                <a:lnTo>
                  <a:pt x="62" y="688"/>
                </a:lnTo>
                <a:lnTo>
                  <a:pt x="91" y="619"/>
                </a:lnTo>
                <a:lnTo>
                  <a:pt x="124" y="552"/>
                </a:lnTo>
                <a:lnTo>
                  <a:pt x="163" y="487"/>
                </a:lnTo>
                <a:lnTo>
                  <a:pt x="206" y="424"/>
                </a:lnTo>
                <a:lnTo>
                  <a:pt x="255" y="364"/>
                </a:lnTo>
                <a:lnTo>
                  <a:pt x="309" y="306"/>
                </a:lnTo>
                <a:lnTo>
                  <a:pt x="367" y="253"/>
                </a:lnTo>
                <a:lnTo>
                  <a:pt x="427" y="204"/>
                </a:lnTo>
                <a:lnTo>
                  <a:pt x="490" y="162"/>
                </a:lnTo>
                <a:lnTo>
                  <a:pt x="555" y="124"/>
                </a:lnTo>
                <a:lnTo>
                  <a:pt x="623" y="91"/>
                </a:lnTo>
                <a:lnTo>
                  <a:pt x="692" y="62"/>
                </a:lnTo>
                <a:lnTo>
                  <a:pt x="763" y="41"/>
                </a:lnTo>
                <a:lnTo>
                  <a:pt x="835" y="22"/>
                </a:lnTo>
                <a:lnTo>
                  <a:pt x="907" y="10"/>
                </a:lnTo>
                <a:lnTo>
                  <a:pt x="980" y="2"/>
                </a:lnTo>
                <a:lnTo>
                  <a:pt x="105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Tree>
    <p:extLst>
      <p:ext uri="{BB962C8B-B14F-4D97-AF65-F5344CB8AC3E}">
        <p14:creationId xmlns:p14="http://schemas.microsoft.com/office/powerpoint/2010/main" val="2081534035"/>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obsah – jád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a:t>
            </a:r>
            <a:r>
              <a:rPr lang="cs-CZ"/>
              <a:t>NADPIS SNÍMKU – JÁDRO</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1999"/>
            <a:ext cx="8136000" cy="3257688"/>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20" name="Skupina 19"/>
          <p:cNvGrpSpPr/>
          <p:nvPr userDrawn="1"/>
        </p:nvGrpSpPr>
        <p:grpSpPr>
          <a:xfrm>
            <a:off x="7581832" y="5183239"/>
            <a:ext cx="1343508" cy="1202396"/>
            <a:chOff x="5564188" y="5467351"/>
            <a:chExt cx="725488" cy="649288"/>
          </a:xfrm>
          <a:solidFill>
            <a:schemeClr val="accent1"/>
          </a:solidFill>
        </p:grpSpPr>
        <p:sp>
          <p:nvSpPr>
            <p:cNvPr id="15" name="Freeform 10"/>
            <p:cNvSpPr>
              <a:spLocks noEditPoints="1"/>
            </p:cNvSpPr>
            <p:nvPr userDrawn="1"/>
          </p:nvSpPr>
          <p:spPr bwMode="auto">
            <a:xfrm>
              <a:off x="5564188" y="5646738"/>
              <a:ext cx="725488" cy="290513"/>
            </a:xfrm>
            <a:custGeom>
              <a:avLst/>
              <a:gdLst>
                <a:gd name="T0" fmla="*/ 389 w 914"/>
                <a:gd name="T1" fmla="*/ 30 h 367"/>
                <a:gd name="T2" fmla="*/ 266 w 914"/>
                <a:gd name="T3" fmla="*/ 44 h 367"/>
                <a:gd name="T4" fmla="*/ 166 w 914"/>
                <a:gd name="T5" fmla="*/ 70 h 367"/>
                <a:gd name="T6" fmla="*/ 92 w 914"/>
                <a:gd name="T7" fmla="*/ 104 h 367"/>
                <a:gd name="T8" fmla="*/ 43 w 914"/>
                <a:gd name="T9" fmla="*/ 142 h 367"/>
                <a:gd name="T10" fmla="*/ 27 w 914"/>
                <a:gd name="T11" fmla="*/ 184 h 367"/>
                <a:gd name="T12" fmla="*/ 43 w 914"/>
                <a:gd name="T13" fmla="*/ 225 h 367"/>
                <a:gd name="T14" fmla="*/ 92 w 914"/>
                <a:gd name="T15" fmla="*/ 263 h 367"/>
                <a:gd name="T16" fmla="*/ 166 w 914"/>
                <a:gd name="T17" fmla="*/ 297 h 367"/>
                <a:gd name="T18" fmla="*/ 266 w 914"/>
                <a:gd name="T19" fmla="*/ 323 h 367"/>
                <a:gd name="T20" fmla="*/ 389 w 914"/>
                <a:gd name="T21" fmla="*/ 337 h 367"/>
                <a:gd name="T22" fmla="*/ 524 w 914"/>
                <a:gd name="T23" fmla="*/ 337 h 367"/>
                <a:gd name="T24" fmla="*/ 646 w 914"/>
                <a:gd name="T25" fmla="*/ 323 h 367"/>
                <a:gd name="T26" fmla="*/ 746 w 914"/>
                <a:gd name="T27" fmla="*/ 297 h 367"/>
                <a:gd name="T28" fmla="*/ 822 w 914"/>
                <a:gd name="T29" fmla="*/ 263 h 367"/>
                <a:gd name="T30" fmla="*/ 870 w 914"/>
                <a:gd name="T31" fmla="*/ 225 h 367"/>
                <a:gd name="T32" fmla="*/ 886 w 914"/>
                <a:gd name="T33" fmla="*/ 184 h 367"/>
                <a:gd name="T34" fmla="*/ 870 w 914"/>
                <a:gd name="T35" fmla="*/ 142 h 367"/>
                <a:gd name="T36" fmla="*/ 822 w 914"/>
                <a:gd name="T37" fmla="*/ 104 h 367"/>
                <a:gd name="T38" fmla="*/ 746 w 914"/>
                <a:gd name="T39" fmla="*/ 70 h 367"/>
                <a:gd name="T40" fmla="*/ 646 w 914"/>
                <a:gd name="T41" fmla="*/ 44 h 367"/>
                <a:gd name="T42" fmla="*/ 524 w 914"/>
                <a:gd name="T43" fmla="*/ 30 h 367"/>
                <a:gd name="T44" fmla="*/ 456 w 914"/>
                <a:gd name="T45" fmla="*/ 0 h 367"/>
                <a:gd name="T46" fmla="*/ 580 w 914"/>
                <a:gd name="T47" fmla="*/ 8 h 367"/>
                <a:gd name="T48" fmla="*/ 689 w 914"/>
                <a:gd name="T49" fmla="*/ 25 h 367"/>
                <a:gd name="T50" fmla="*/ 781 w 914"/>
                <a:gd name="T51" fmla="*/ 54 h 367"/>
                <a:gd name="T52" fmla="*/ 852 w 914"/>
                <a:gd name="T53" fmla="*/ 91 h 367"/>
                <a:gd name="T54" fmla="*/ 898 w 914"/>
                <a:gd name="T55" fmla="*/ 135 h 367"/>
                <a:gd name="T56" fmla="*/ 914 w 914"/>
                <a:gd name="T57" fmla="*/ 184 h 367"/>
                <a:gd name="T58" fmla="*/ 898 w 914"/>
                <a:gd name="T59" fmla="*/ 232 h 367"/>
                <a:gd name="T60" fmla="*/ 852 w 914"/>
                <a:gd name="T61" fmla="*/ 277 h 367"/>
                <a:gd name="T62" fmla="*/ 781 w 914"/>
                <a:gd name="T63" fmla="*/ 313 h 367"/>
                <a:gd name="T64" fmla="*/ 689 w 914"/>
                <a:gd name="T65" fmla="*/ 342 h 367"/>
                <a:gd name="T66" fmla="*/ 580 w 914"/>
                <a:gd name="T67" fmla="*/ 359 h 367"/>
                <a:gd name="T68" fmla="*/ 456 w 914"/>
                <a:gd name="T69" fmla="*/ 367 h 367"/>
                <a:gd name="T70" fmla="*/ 333 w 914"/>
                <a:gd name="T71" fmla="*/ 359 h 367"/>
                <a:gd name="T72" fmla="*/ 224 w 914"/>
                <a:gd name="T73" fmla="*/ 342 h 367"/>
                <a:gd name="T74" fmla="*/ 132 w 914"/>
                <a:gd name="T75" fmla="*/ 313 h 367"/>
                <a:gd name="T76" fmla="*/ 61 w 914"/>
                <a:gd name="T77" fmla="*/ 277 h 367"/>
                <a:gd name="T78" fmla="*/ 16 w 914"/>
                <a:gd name="T79" fmla="*/ 232 h 367"/>
                <a:gd name="T80" fmla="*/ 0 w 914"/>
                <a:gd name="T81" fmla="*/ 184 h 367"/>
                <a:gd name="T82" fmla="*/ 16 w 914"/>
                <a:gd name="T83" fmla="*/ 135 h 367"/>
                <a:gd name="T84" fmla="*/ 61 w 914"/>
                <a:gd name="T85" fmla="*/ 91 h 367"/>
                <a:gd name="T86" fmla="*/ 132 w 914"/>
                <a:gd name="T87" fmla="*/ 54 h 367"/>
                <a:gd name="T88" fmla="*/ 224 w 914"/>
                <a:gd name="T89" fmla="*/ 25 h 367"/>
                <a:gd name="T90" fmla="*/ 333 w 914"/>
                <a:gd name="T91" fmla="*/ 8 h 367"/>
                <a:gd name="T92" fmla="*/ 456 w 914"/>
                <a:gd name="T9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14" h="367">
                  <a:moveTo>
                    <a:pt x="456" y="29"/>
                  </a:moveTo>
                  <a:lnTo>
                    <a:pt x="389" y="30"/>
                  </a:lnTo>
                  <a:lnTo>
                    <a:pt x="325" y="35"/>
                  </a:lnTo>
                  <a:lnTo>
                    <a:pt x="266" y="44"/>
                  </a:lnTo>
                  <a:lnTo>
                    <a:pt x="214" y="56"/>
                  </a:lnTo>
                  <a:lnTo>
                    <a:pt x="166" y="70"/>
                  </a:lnTo>
                  <a:lnTo>
                    <a:pt x="125" y="86"/>
                  </a:lnTo>
                  <a:lnTo>
                    <a:pt x="92" y="104"/>
                  </a:lnTo>
                  <a:lnTo>
                    <a:pt x="63" y="122"/>
                  </a:lnTo>
                  <a:lnTo>
                    <a:pt x="43" y="142"/>
                  </a:lnTo>
                  <a:lnTo>
                    <a:pt x="31" y="164"/>
                  </a:lnTo>
                  <a:lnTo>
                    <a:pt x="27" y="184"/>
                  </a:lnTo>
                  <a:lnTo>
                    <a:pt x="31" y="205"/>
                  </a:lnTo>
                  <a:lnTo>
                    <a:pt x="43" y="225"/>
                  </a:lnTo>
                  <a:lnTo>
                    <a:pt x="63" y="245"/>
                  </a:lnTo>
                  <a:lnTo>
                    <a:pt x="92" y="263"/>
                  </a:lnTo>
                  <a:lnTo>
                    <a:pt x="125" y="281"/>
                  </a:lnTo>
                  <a:lnTo>
                    <a:pt x="166" y="297"/>
                  </a:lnTo>
                  <a:lnTo>
                    <a:pt x="214" y="311"/>
                  </a:lnTo>
                  <a:lnTo>
                    <a:pt x="266" y="323"/>
                  </a:lnTo>
                  <a:lnTo>
                    <a:pt x="325" y="332"/>
                  </a:lnTo>
                  <a:lnTo>
                    <a:pt x="389" y="337"/>
                  </a:lnTo>
                  <a:lnTo>
                    <a:pt x="456" y="339"/>
                  </a:lnTo>
                  <a:lnTo>
                    <a:pt x="524" y="337"/>
                  </a:lnTo>
                  <a:lnTo>
                    <a:pt x="588" y="332"/>
                  </a:lnTo>
                  <a:lnTo>
                    <a:pt x="646" y="323"/>
                  </a:lnTo>
                  <a:lnTo>
                    <a:pt x="699" y="311"/>
                  </a:lnTo>
                  <a:lnTo>
                    <a:pt x="746" y="297"/>
                  </a:lnTo>
                  <a:lnTo>
                    <a:pt x="787" y="281"/>
                  </a:lnTo>
                  <a:lnTo>
                    <a:pt x="822" y="263"/>
                  </a:lnTo>
                  <a:lnTo>
                    <a:pt x="849" y="245"/>
                  </a:lnTo>
                  <a:lnTo>
                    <a:pt x="870" y="225"/>
                  </a:lnTo>
                  <a:lnTo>
                    <a:pt x="883" y="205"/>
                  </a:lnTo>
                  <a:lnTo>
                    <a:pt x="886" y="184"/>
                  </a:lnTo>
                  <a:lnTo>
                    <a:pt x="883" y="164"/>
                  </a:lnTo>
                  <a:lnTo>
                    <a:pt x="870" y="142"/>
                  </a:lnTo>
                  <a:lnTo>
                    <a:pt x="849" y="122"/>
                  </a:lnTo>
                  <a:lnTo>
                    <a:pt x="822" y="104"/>
                  </a:lnTo>
                  <a:lnTo>
                    <a:pt x="787" y="86"/>
                  </a:lnTo>
                  <a:lnTo>
                    <a:pt x="746" y="70"/>
                  </a:lnTo>
                  <a:lnTo>
                    <a:pt x="699" y="56"/>
                  </a:lnTo>
                  <a:lnTo>
                    <a:pt x="646" y="44"/>
                  </a:lnTo>
                  <a:lnTo>
                    <a:pt x="588" y="35"/>
                  </a:lnTo>
                  <a:lnTo>
                    <a:pt x="524" y="30"/>
                  </a:lnTo>
                  <a:lnTo>
                    <a:pt x="456" y="29"/>
                  </a:lnTo>
                  <a:close/>
                  <a:moveTo>
                    <a:pt x="456" y="0"/>
                  </a:moveTo>
                  <a:lnTo>
                    <a:pt x="519" y="3"/>
                  </a:lnTo>
                  <a:lnTo>
                    <a:pt x="580" y="8"/>
                  </a:lnTo>
                  <a:lnTo>
                    <a:pt x="636" y="15"/>
                  </a:lnTo>
                  <a:lnTo>
                    <a:pt x="689" y="25"/>
                  </a:lnTo>
                  <a:lnTo>
                    <a:pt x="738" y="39"/>
                  </a:lnTo>
                  <a:lnTo>
                    <a:pt x="781" y="54"/>
                  </a:lnTo>
                  <a:lnTo>
                    <a:pt x="819" y="71"/>
                  </a:lnTo>
                  <a:lnTo>
                    <a:pt x="852" y="91"/>
                  </a:lnTo>
                  <a:lnTo>
                    <a:pt x="879" y="111"/>
                  </a:lnTo>
                  <a:lnTo>
                    <a:pt x="898" y="135"/>
                  </a:lnTo>
                  <a:lnTo>
                    <a:pt x="910" y="159"/>
                  </a:lnTo>
                  <a:lnTo>
                    <a:pt x="914" y="184"/>
                  </a:lnTo>
                  <a:lnTo>
                    <a:pt x="910" y="208"/>
                  </a:lnTo>
                  <a:lnTo>
                    <a:pt x="898" y="232"/>
                  </a:lnTo>
                  <a:lnTo>
                    <a:pt x="879" y="256"/>
                  </a:lnTo>
                  <a:lnTo>
                    <a:pt x="852" y="277"/>
                  </a:lnTo>
                  <a:lnTo>
                    <a:pt x="819" y="296"/>
                  </a:lnTo>
                  <a:lnTo>
                    <a:pt x="781" y="313"/>
                  </a:lnTo>
                  <a:lnTo>
                    <a:pt x="738" y="328"/>
                  </a:lnTo>
                  <a:lnTo>
                    <a:pt x="689" y="342"/>
                  </a:lnTo>
                  <a:lnTo>
                    <a:pt x="636" y="352"/>
                  </a:lnTo>
                  <a:lnTo>
                    <a:pt x="580" y="359"/>
                  </a:lnTo>
                  <a:lnTo>
                    <a:pt x="519" y="364"/>
                  </a:lnTo>
                  <a:lnTo>
                    <a:pt x="456" y="367"/>
                  </a:lnTo>
                  <a:lnTo>
                    <a:pt x="394" y="364"/>
                  </a:lnTo>
                  <a:lnTo>
                    <a:pt x="333" y="359"/>
                  </a:lnTo>
                  <a:lnTo>
                    <a:pt x="278" y="352"/>
                  </a:lnTo>
                  <a:lnTo>
                    <a:pt x="224" y="342"/>
                  </a:lnTo>
                  <a:lnTo>
                    <a:pt x="176" y="328"/>
                  </a:lnTo>
                  <a:lnTo>
                    <a:pt x="132" y="313"/>
                  </a:lnTo>
                  <a:lnTo>
                    <a:pt x="94" y="296"/>
                  </a:lnTo>
                  <a:lnTo>
                    <a:pt x="61" y="277"/>
                  </a:lnTo>
                  <a:lnTo>
                    <a:pt x="34" y="256"/>
                  </a:lnTo>
                  <a:lnTo>
                    <a:pt x="16" y="232"/>
                  </a:lnTo>
                  <a:lnTo>
                    <a:pt x="3" y="208"/>
                  </a:lnTo>
                  <a:lnTo>
                    <a:pt x="0" y="184"/>
                  </a:lnTo>
                  <a:lnTo>
                    <a:pt x="3" y="159"/>
                  </a:lnTo>
                  <a:lnTo>
                    <a:pt x="16" y="135"/>
                  </a:lnTo>
                  <a:lnTo>
                    <a:pt x="34" y="111"/>
                  </a:lnTo>
                  <a:lnTo>
                    <a:pt x="61" y="91"/>
                  </a:lnTo>
                  <a:lnTo>
                    <a:pt x="94" y="71"/>
                  </a:lnTo>
                  <a:lnTo>
                    <a:pt x="132" y="54"/>
                  </a:lnTo>
                  <a:lnTo>
                    <a:pt x="176" y="39"/>
                  </a:lnTo>
                  <a:lnTo>
                    <a:pt x="224" y="25"/>
                  </a:lnTo>
                  <a:lnTo>
                    <a:pt x="278" y="15"/>
                  </a:lnTo>
                  <a:lnTo>
                    <a:pt x="333" y="8"/>
                  </a:lnTo>
                  <a:lnTo>
                    <a:pt x="394" y="3"/>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6" name="Freeform 11"/>
            <p:cNvSpPr>
              <a:spLocks noEditPoints="1"/>
            </p:cNvSpPr>
            <p:nvPr userDrawn="1"/>
          </p:nvSpPr>
          <p:spPr bwMode="auto">
            <a:xfrm>
              <a:off x="5705476" y="5467351"/>
              <a:ext cx="442913" cy="649288"/>
            </a:xfrm>
            <a:custGeom>
              <a:avLst/>
              <a:gdLst>
                <a:gd name="T0" fmla="*/ 441 w 557"/>
                <a:gd name="T1" fmla="*/ 30 h 817"/>
                <a:gd name="T2" fmla="*/ 386 w 557"/>
                <a:gd name="T3" fmla="*/ 54 h 817"/>
                <a:gd name="T4" fmla="*/ 326 w 557"/>
                <a:gd name="T5" fmla="*/ 98 h 817"/>
                <a:gd name="T6" fmla="*/ 264 w 557"/>
                <a:gd name="T7" fmla="*/ 162 h 817"/>
                <a:gd name="T8" fmla="*/ 202 w 557"/>
                <a:gd name="T9" fmla="*/ 240 h 817"/>
                <a:gd name="T10" fmla="*/ 145 w 557"/>
                <a:gd name="T11" fmla="*/ 331 h 817"/>
                <a:gd name="T12" fmla="*/ 90 w 557"/>
                <a:gd name="T13" fmla="*/ 440 h 817"/>
                <a:gd name="T14" fmla="*/ 52 w 557"/>
                <a:gd name="T15" fmla="*/ 539 h 817"/>
                <a:gd name="T16" fmla="*/ 31 w 557"/>
                <a:gd name="T17" fmla="*/ 626 h 817"/>
                <a:gd name="T18" fmla="*/ 28 w 557"/>
                <a:gd name="T19" fmla="*/ 699 h 817"/>
                <a:gd name="T20" fmla="*/ 39 w 557"/>
                <a:gd name="T21" fmla="*/ 751 h 817"/>
                <a:gd name="T22" fmla="*/ 64 w 557"/>
                <a:gd name="T23" fmla="*/ 782 h 817"/>
                <a:gd name="T24" fmla="*/ 93 w 557"/>
                <a:gd name="T25" fmla="*/ 790 h 817"/>
                <a:gd name="T26" fmla="*/ 143 w 557"/>
                <a:gd name="T27" fmla="*/ 777 h 817"/>
                <a:gd name="T28" fmla="*/ 200 w 557"/>
                <a:gd name="T29" fmla="*/ 744 h 817"/>
                <a:gd name="T30" fmla="*/ 262 w 557"/>
                <a:gd name="T31" fmla="*/ 689 h 817"/>
                <a:gd name="T32" fmla="*/ 324 w 557"/>
                <a:gd name="T33" fmla="*/ 618 h 817"/>
                <a:gd name="T34" fmla="*/ 383 w 557"/>
                <a:gd name="T35" fmla="*/ 533 h 817"/>
                <a:gd name="T36" fmla="*/ 441 w 557"/>
                <a:gd name="T37" fmla="*/ 435 h 817"/>
                <a:gd name="T38" fmla="*/ 485 w 557"/>
                <a:gd name="T39" fmla="*/ 334 h 817"/>
                <a:gd name="T40" fmla="*/ 516 w 557"/>
                <a:gd name="T41" fmla="*/ 238 h 817"/>
                <a:gd name="T42" fmla="*/ 529 w 557"/>
                <a:gd name="T43" fmla="*/ 159 h 817"/>
                <a:gd name="T44" fmla="*/ 529 w 557"/>
                <a:gd name="T45" fmla="*/ 102 h 817"/>
                <a:gd name="T46" fmla="*/ 516 w 557"/>
                <a:gd name="T47" fmla="*/ 60 h 817"/>
                <a:gd name="T48" fmla="*/ 494 w 557"/>
                <a:gd name="T49" fmla="*/ 35 h 817"/>
                <a:gd name="T50" fmla="*/ 464 w 557"/>
                <a:gd name="T51" fmla="*/ 27 h 817"/>
                <a:gd name="T52" fmla="*/ 486 w 557"/>
                <a:gd name="T53" fmla="*/ 2 h 817"/>
                <a:gd name="T54" fmla="*/ 525 w 557"/>
                <a:gd name="T55" fmla="*/ 25 h 817"/>
                <a:gd name="T56" fmla="*/ 548 w 557"/>
                <a:gd name="T57" fmla="*/ 65 h 817"/>
                <a:gd name="T58" fmla="*/ 557 w 557"/>
                <a:gd name="T59" fmla="*/ 123 h 817"/>
                <a:gd name="T60" fmla="*/ 552 w 557"/>
                <a:gd name="T61" fmla="*/ 198 h 817"/>
                <a:gd name="T62" fmla="*/ 529 w 557"/>
                <a:gd name="T63" fmla="*/ 293 h 817"/>
                <a:gd name="T64" fmla="*/ 489 w 557"/>
                <a:gd name="T65" fmla="*/ 395 h 817"/>
                <a:gd name="T66" fmla="*/ 436 w 557"/>
                <a:gd name="T67" fmla="*/ 499 h 817"/>
                <a:gd name="T68" fmla="*/ 375 w 557"/>
                <a:gd name="T69" fmla="*/ 595 h 817"/>
                <a:gd name="T70" fmla="*/ 309 w 557"/>
                <a:gd name="T71" fmla="*/ 678 h 817"/>
                <a:gd name="T72" fmla="*/ 243 w 557"/>
                <a:gd name="T73" fmla="*/ 744 h 817"/>
                <a:gd name="T74" fmla="*/ 179 w 557"/>
                <a:gd name="T75" fmla="*/ 790 h 817"/>
                <a:gd name="T76" fmla="*/ 121 w 557"/>
                <a:gd name="T77" fmla="*/ 815 h 817"/>
                <a:gd name="T78" fmla="*/ 70 w 557"/>
                <a:gd name="T79" fmla="*/ 815 h 817"/>
                <a:gd name="T80" fmla="*/ 33 w 557"/>
                <a:gd name="T81" fmla="*/ 793 h 817"/>
                <a:gd name="T82" fmla="*/ 9 w 557"/>
                <a:gd name="T83" fmla="*/ 752 h 817"/>
                <a:gd name="T84" fmla="*/ 0 w 557"/>
                <a:gd name="T85" fmla="*/ 696 h 817"/>
                <a:gd name="T86" fmla="*/ 4 w 557"/>
                <a:gd name="T87" fmla="*/ 626 h 817"/>
                <a:gd name="T88" fmla="*/ 21 w 557"/>
                <a:gd name="T89" fmla="*/ 546 h 817"/>
                <a:gd name="T90" fmla="*/ 52 w 557"/>
                <a:gd name="T91" fmla="*/ 458 h 817"/>
                <a:gd name="T92" fmla="*/ 96 w 557"/>
                <a:gd name="T93" fmla="*/ 365 h 817"/>
                <a:gd name="T94" fmla="*/ 152 w 557"/>
                <a:gd name="T95" fmla="*/ 268 h 817"/>
                <a:gd name="T96" fmla="*/ 215 w 557"/>
                <a:gd name="T97" fmla="*/ 178 h 817"/>
                <a:gd name="T98" fmla="*/ 281 w 557"/>
                <a:gd name="T99" fmla="*/ 105 h 817"/>
                <a:gd name="T100" fmla="*/ 346 w 557"/>
                <a:gd name="T101" fmla="*/ 49 h 817"/>
                <a:gd name="T102" fmla="*/ 408 w 557"/>
                <a:gd name="T103" fmla="*/ 12 h 817"/>
                <a:gd name="T104" fmla="*/ 464 w 557"/>
                <a:gd name="T10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817">
                  <a:moveTo>
                    <a:pt x="464" y="27"/>
                  </a:moveTo>
                  <a:lnTo>
                    <a:pt x="441" y="30"/>
                  </a:lnTo>
                  <a:lnTo>
                    <a:pt x="413" y="40"/>
                  </a:lnTo>
                  <a:lnTo>
                    <a:pt x="386" y="54"/>
                  </a:lnTo>
                  <a:lnTo>
                    <a:pt x="356" y="75"/>
                  </a:lnTo>
                  <a:lnTo>
                    <a:pt x="326" y="98"/>
                  </a:lnTo>
                  <a:lnTo>
                    <a:pt x="295" y="128"/>
                  </a:lnTo>
                  <a:lnTo>
                    <a:pt x="264" y="162"/>
                  </a:lnTo>
                  <a:lnTo>
                    <a:pt x="233" y="199"/>
                  </a:lnTo>
                  <a:lnTo>
                    <a:pt x="202" y="240"/>
                  </a:lnTo>
                  <a:lnTo>
                    <a:pt x="173" y="284"/>
                  </a:lnTo>
                  <a:lnTo>
                    <a:pt x="145" y="331"/>
                  </a:lnTo>
                  <a:lnTo>
                    <a:pt x="114" y="386"/>
                  </a:lnTo>
                  <a:lnTo>
                    <a:pt x="90" y="440"/>
                  </a:lnTo>
                  <a:lnTo>
                    <a:pt x="69" y="491"/>
                  </a:lnTo>
                  <a:lnTo>
                    <a:pt x="52" y="539"/>
                  </a:lnTo>
                  <a:lnTo>
                    <a:pt x="40" y="584"/>
                  </a:lnTo>
                  <a:lnTo>
                    <a:pt x="31" y="626"/>
                  </a:lnTo>
                  <a:lnTo>
                    <a:pt x="28" y="665"/>
                  </a:lnTo>
                  <a:lnTo>
                    <a:pt x="28" y="699"/>
                  </a:lnTo>
                  <a:lnTo>
                    <a:pt x="31" y="727"/>
                  </a:lnTo>
                  <a:lnTo>
                    <a:pt x="39" y="751"/>
                  </a:lnTo>
                  <a:lnTo>
                    <a:pt x="49" y="770"/>
                  </a:lnTo>
                  <a:lnTo>
                    <a:pt x="64" y="782"/>
                  </a:lnTo>
                  <a:lnTo>
                    <a:pt x="77" y="788"/>
                  </a:lnTo>
                  <a:lnTo>
                    <a:pt x="93" y="790"/>
                  </a:lnTo>
                  <a:lnTo>
                    <a:pt x="117" y="787"/>
                  </a:lnTo>
                  <a:lnTo>
                    <a:pt x="143" y="777"/>
                  </a:lnTo>
                  <a:lnTo>
                    <a:pt x="171" y="763"/>
                  </a:lnTo>
                  <a:lnTo>
                    <a:pt x="200" y="744"/>
                  </a:lnTo>
                  <a:lnTo>
                    <a:pt x="231" y="719"/>
                  </a:lnTo>
                  <a:lnTo>
                    <a:pt x="262" y="689"/>
                  </a:lnTo>
                  <a:lnTo>
                    <a:pt x="293" y="655"/>
                  </a:lnTo>
                  <a:lnTo>
                    <a:pt x="324" y="618"/>
                  </a:lnTo>
                  <a:lnTo>
                    <a:pt x="354" y="577"/>
                  </a:lnTo>
                  <a:lnTo>
                    <a:pt x="383" y="533"/>
                  </a:lnTo>
                  <a:lnTo>
                    <a:pt x="412" y="486"/>
                  </a:lnTo>
                  <a:lnTo>
                    <a:pt x="441" y="435"/>
                  </a:lnTo>
                  <a:lnTo>
                    <a:pt x="464" y="385"/>
                  </a:lnTo>
                  <a:lnTo>
                    <a:pt x="485" y="334"/>
                  </a:lnTo>
                  <a:lnTo>
                    <a:pt x="503" y="285"/>
                  </a:lnTo>
                  <a:lnTo>
                    <a:pt x="516" y="238"/>
                  </a:lnTo>
                  <a:lnTo>
                    <a:pt x="525" y="193"/>
                  </a:lnTo>
                  <a:lnTo>
                    <a:pt x="529" y="159"/>
                  </a:lnTo>
                  <a:lnTo>
                    <a:pt x="530" y="130"/>
                  </a:lnTo>
                  <a:lnTo>
                    <a:pt x="529" y="102"/>
                  </a:lnTo>
                  <a:lnTo>
                    <a:pt x="524" y="80"/>
                  </a:lnTo>
                  <a:lnTo>
                    <a:pt x="516" y="60"/>
                  </a:lnTo>
                  <a:lnTo>
                    <a:pt x="506" y="45"/>
                  </a:lnTo>
                  <a:lnTo>
                    <a:pt x="494" y="35"/>
                  </a:lnTo>
                  <a:lnTo>
                    <a:pt x="480" y="29"/>
                  </a:lnTo>
                  <a:lnTo>
                    <a:pt x="464" y="27"/>
                  </a:lnTo>
                  <a:close/>
                  <a:moveTo>
                    <a:pt x="464" y="0"/>
                  </a:moveTo>
                  <a:lnTo>
                    <a:pt x="486" y="2"/>
                  </a:lnTo>
                  <a:lnTo>
                    <a:pt x="507" y="11"/>
                  </a:lnTo>
                  <a:lnTo>
                    <a:pt x="525" y="25"/>
                  </a:lnTo>
                  <a:lnTo>
                    <a:pt x="538" y="42"/>
                  </a:lnTo>
                  <a:lnTo>
                    <a:pt x="548" y="65"/>
                  </a:lnTo>
                  <a:lnTo>
                    <a:pt x="555" y="92"/>
                  </a:lnTo>
                  <a:lnTo>
                    <a:pt x="557" y="123"/>
                  </a:lnTo>
                  <a:lnTo>
                    <a:pt x="557" y="158"/>
                  </a:lnTo>
                  <a:lnTo>
                    <a:pt x="552" y="198"/>
                  </a:lnTo>
                  <a:lnTo>
                    <a:pt x="542" y="244"/>
                  </a:lnTo>
                  <a:lnTo>
                    <a:pt x="529" y="293"/>
                  </a:lnTo>
                  <a:lnTo>
                    <a:pt x="511" y="344"/>
                  </a:lnTo>
                  <a:lnTo>
                    <a:pt x="489" y="395"/>
                  </a:lnTo>
                  <a:lnTo>
                    <a:pt x="464" y="447"/>
                  </a:lnTo>
                  <a:lnTo>
                    <a:pt x="436" y="499"/>
                  </a:lnTo>
                  <a:lnTo>
                    <a:pt x="406" y="549"/>
                  </a:lnTo>
                  <a:lnTo>
                    <a:pt x="375" y="595"/>
                  </a:lnTo>
                  <a:lnTo>
                    <a:pt x="343" y="639"/>
                  </a:lnTo>
                  <a:lnTo>
                    <a:pt x="309" y="678"/>
                  </a:lnTo>
                  <a:lnTo>
                    <a:pt x="276" y="712"/>
                  </a:lnTo>
                  <a:lnTo>
                    <a:pt x="243" y="744"/>
                  </a:lnTo>
                  <a:lnTo>
                    <a:pt x="211" y="770"/>
                  </a:lnTo>
                  <a:lnTo>
                    <a:pt x="179" y="790"/>
                  </a:lnTo>
                  <a:lnTo>
                    <a:pt x="149" y="805"/>
                  </a:lnTo>
                  <a:lnTo>
                    <a:pt x="121" y="815"/>
                  </a:lnTo>
                  <a:lnTo>
                    <a:pt x="93" y="817"/>
                  </a:lnTo>
                  <a:lnTo>
                    <a:pt x="70" y="815"/>
                  </a:lnTo>
                  <a:lnTo>
                    <a:pt x="50" y="806"/>
                  </a:lnTo>
                  <a:lnTo>
                    <a:pt x="33" y="793"/>
                  </a:lnTo>
                  <a:lnTo>
                    <a:pt x="19" y="775"/>
                  </a:lnTo>
                  <a:lnTo>
                    <a:pt x="9" y="752"/>
                  </a:lnTo>
                  <a:lnTo>
                    <a:pt x="3" y="726"/>
                  </a:lnTo>
                  <a:lnTo>
                    <a:pt x="0" y="696"/>
                  </a:lnTo>
                  <a:lnTo>
                    <a:pt x="0" y="663"/>
                  </a:lnTo>
                  <a:lnTo>
                    <a:pt x="4" y="626"/>
                  </a:lnTo>
                  <a:lnTo>
                    <a:pt x="11" y="588"/>
                  </a:lnTo>
                  <a:lnTo>
                    <a:pt x="21" y="546"/>
                  </a:lnTo>
                  <a:lnTo>
                    <a:pt x="35" y="503"/>
                  </a:lnTo>
                  <a:lnTo>
                    <a:pt x="52" y="458"/>
                  </a:lnTo>
                  <a:lnTo>
                    <a:pt x="72" y="412"/>
                  </a:lnTo>
                  <a:lnTo>
                    <a:pt x="96" y="365"/>
                  </a:lnTo>
                  <a:lnTo>
                    <a:pt x="121" y="318"/>
                  </a:lnTo>
                  <a:lnTo>
                    <a:pt x="152" y="268"/>
                  </a:lnTo>
                  <a:lnTo>
                    <a:pt x="183" y="222"/>
                  </a:lnTo>
                  <a:lnTo>
                    <a:pt x="215" y="178"/>
                  </a:lnTo>
                  <a:lnTo>
                    <a:pt x="248" y="139"/>
                  </a:lnTo>
                  <a:lnTo>
                    <a:pt x="281" y="105"/>
                  </a:lnTo>
                  <a:lnTo>
                    <a:pt x="314" y="73"/>
                  </a:lnTo>
                  <a:lnTo>
                    <a:pt x="346" y="49"/>
                  </a:lnTo>
                  <a:lnTo>
                    <a:pt x="379" y="27"/>
                  </a:lnTo>
                  <a:lnTo>
                    <a:pt x="408" y="12"/>
                  </a:lnTo>
                  <a:lnTo>
                    <a:pt x="437" y="2"/>
                  </a:lnTo>
                  <a:lnTo>
                    <a:pt x="4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7" name="Freeform 12"/>
            <p:cNvSpPr>
              <a:spLocks noEditPoints="1"/>
            </p:cNvSpPr>
            <p:nvPr userDrawn="1"/>
          </p:nvSpPr>
          <p:spPr bwMode="auto">
            <a:xfrm>
              <a:off x="5705476" y="5467351"/>
              <a:ext cx="442913" cy="649288"/>
            </a:xfrm>
            <a:custGeom>
              <a:avLst/>
              <a:gdLst>
                <a:gd name="T0" fmla="*/ 77 w 557"/>
                <a:gd name="T1" fmla="*/ 29 h 817"/>
                <a:gd name="T2" fmla="*/ 49 w 557"/>
                <a:gd name="T3" fmla="*/ 47 h 817"/>
                <a:gd name="T4" fmla="*/ 31 w 557"/>
                <a:gd name="T5" fmla="*/ 90 h 817"/>
                <a:gd name="T6" fmla="*/ 28 w 557"/>
                <a:gd name="T7" fmla="*/ 152 h 817"/>
                <a:gd name="T8" fmla="*/ 40 w 557"/>
                <a:gd name="T9" fmla="*/ 233 h 817"/>
                <a:gd name="T10" fmla="*/ 69 w 557"/>
                <a:gd name="T11" fmla="*/ 326 h 817"/>
                <a:gd name="T12" fmla="*/ 114 w 557"/>
                <a:gd name="T13" fmla="*/ 431 h 817"/>
                <a:gd name="T14" fmla="*/ 173 w 557"/>
                <a:gd name="T15" fmla="*/ 533 h 817"/>
                <a:gd name="T16" fmla="*/ 233 w 557"/>
                <a:gd name="T17" fmla="*/ 618 h 817"/>
                <a:gd name="T18" fmla="*/ 295 w 557"/>
                <a:gd name="T19" fmla="*/ 689 h 817"/>
                <a:gd name="T20" fmla="*/ 356 w 557"/>
                <a:gd name="T21" fmla="*/ 744 h 817"/>
                <a:gd name="T22" fmla="*/ 413 w 557"/>
                <a:gd name="T23" fmla="*/ 777 h 817"/>
                <a:gd name="T24" fmla="*/ 464 w 557"/>
                <a:gd name="T25" fmla="*/ 790 h 817"/>
                <a:gd name="T26" fmla="*/ 494 w 557"/>
                <a:gd name="T27" fmla="*/ 782 h 817"/>
                <a:gd name="T28" fmla="*/ 516 w 557"/>
                <a:gd name="T29" fmla="*/ 757 h 817"/>
                <a:gd name="T30" fmla="*/ 529 w 557"/>
                <a:gd name="T31" fmla="*/ 715 h 817"/>
                <a:gd name="T32" fmla="*/ 529 w 557"/>
                <a:gd name="T33" fmla="*/ 658 h 817"/>
                <a:gd name="T34" fmla="*/ 516 w 557"/>
                <a:gd name="T35" fmla="*/ 579 h 817"/>
                <a:gd name="T36" fmla="*/ 485 w 557"/>
                <a:gd name="T37" fmla="*/ 483 h 817"/>
                <a:gd name="T38" fmla="*/ 441 w 557"/>
                <a:gd name="T39" fmla="*/ 382 h 817"/>
                <a:gd name="T40" fmla="*/ 383 w 557"/>
                <a:gd name="T41" fmla="*/ 284 h 817"/>
                <a:gd name="T42" fmla="*/ 324 w 557"/>
                <a:gd name="T43" fmla="*/ 199 h 817"/>
                <a:gd name="T44" fmla="*/ 262 w 557"/>
                <a:gd name="T45" fmla="*/ 128 h 817"/>
                <a:gd name="T46" fmla="*/ 200 w 557"/>
                <a:gd name="T47" fmla="*/ 75 h 817"/>
                <a:gd name="T48" fmla="*/ 143 w 557"/>
                <a:gd name="T49" fmla="*/ 40 h 817"/>
                <a:gd name="T50" fmla="*/ 93 w 557"/>
                <a:gd name="T51" fmla="*/ 27 h 817"/>
                <a:gd name="T52" fmla="*/ 121 w 557"/>
                <a:gd name="T53" fmla="*/ 2 h 817"/>
                <a:gd name="T54" fmla="*/ 179 w 557"/>
                <a:gd name="T55" fmla="*/ 27 h 817"/>
                <a:gd name="T56" fmla="*/ 243 w 557"/>
                <a:gd name="T57" fmla="*/ 73 h 817"/>
                <a:gd name="T58" fmla="*/ 309 w 557"/>
                <a:gd name="T59" fmla="*/ 139 h 817"/>
                <a:gd name="T60" fmla="*/ 375 w 557"/>
                <a:gd name="T61" fmla="*/ 222 h 817"/>
                <a:gd name="T62" fmla="*/ 436 w 557"/>
                <a:gd name="T63" fmla="*/ 318 h 817"/>
                <a:gd name="T64" fmla="*/ 489 w 557"/>
                <a:gd name="T65" fmla="*/ 422 h 817"/>
                <a:gd name="T66" fmla="*/ 529 w 557"/>
                <a:gd name="T67" fmla="*/ 524 h 817"/>
                <a:gd name="T68" fmla="*/ 552 w 557"/>
                <a:gd name="T69" fmla="*/ 619 h 817"/>
                <a:gd name="T70" fmla="*/ 557 w 557"/>
                <a:gd name="T71" fmla="*/ 694 h 817"/>
                <a:gd name="T72" fmla="*/ 548 w 557"/>
                <a:gd name="T73" fmla="*/ 752 h 817"/>
                <a:gd name="T74" fmla="*/ 525 w 557"/>
                <a:gd name="T75" fmla="*/ 793 h 817"/>
                <a:gd name="T76" fmla="*/ 486 w 557"/>
                <a:gd name="T77" fmla="*/ 815 h 817"/>
                <a:gd name="T78" fmla="*/ 437 w 557"/>
                <a:gd name="T79" fmla="*/ 815 h 817"/>
                <a:gd name="T80" fmla="*/ 379 w 557"/>
                <a:gd name="T81" fmla="*/ 790 h 817"/>
                <a:gd name="T82" fmla="*/ 314 w 557"/>
                <a:gd name="T83" fmla="*/ 744 h 817"/>
                <a:gd name="T84" fmla="*/ 248 w 557"/>
                <a:gd name="T85" fmla="*/ 678 h 817"/>
                <a:gd name="T86" fmla="*/ 183 w 557"/>
                <a:gd name="T87" fmla="*/ 595 h 817"/>
                <a:gd name="T88" fmla="*/ 121 w 557"/>
                <a:gd name="T89" fmla="*/ 499 h 817"/>
                <a:gd name="T90" fmla="*/ 72 w 557"/>
                <a:gd name="T91" fmla="*/ 405 h 817"/>
                <a:gd name="T92" fmla="*/ 35 w 557"/>
                <a:gd name="T93" fmla="*/ 314 h 817"/>
                <a:gd name="T94" fmla="*/ 11 w 557"/>
                <a:gd name="T95" fmla="*/ 230 h 817"/>
                <a:gd name="T96" fmla="*/ 0 w 557"/>
                <a:gd name="T97" fmla="*/ 154 h 817"/>
                <a:gd name="T98" fmla="*/ 3 w 557"/>
                <a:gd name="T99" fmla="*/ 91 h 817"/>
                <a:gd name="T100" fmla="*/ 19 w 557"/>
                <a:gd name="T101" fmla="*/ 42 h 817"/>
                <a:gd name="T102" fmla="*/ 50 w 557"/>
                <a:gd name="T103" fmla="*/ 11 h 817"/>
                <a:gd name="T104" fmla="*/ 93 w 557"/>
                <a:gd name="T10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817">
                  <a:moveTo>
                    <a:pt x="93" y="27"/>
                  </a:moveTo>
                  <a:lnTo>
                    <a:pt x="77" y="29"/>
                  </a:lnTo>
                  <a:lnTo>
                    <a:pt x="64" y="35"/>
                  </a:lnTo>
                  <a:lnTo>
                    <a:pt x="49" y="47"/>
                  </a:lnTo>
                  <a:lnTo>
                    <a:pt x="39" y="66"/>
                  </a:lnTo>
                  <a:lnTo>
                    <a:pt x="31" y="90"/>
                  </a:lnTo>
                  <a:lnTo>
                    <a:pt x="28" y="118"/>
                  </a:lnTo>
                  <a:lnTo>
                    <a:pt x="28" y="152"/>
                  </a:lnTo>
                  <a:lnTo>
                    <a:pt x="31" y="191"/>
                  </a:lnTo>
                  <a:lnTo>
                    <a:pt x="40" y="233"/>
                  </a:lnTo>
                  <a:lnTo>
                    <a:pt x="52" y="278"/>
                  </a:lnTo>
                  <a:lnTo>
                    <a:pt x="69" y="326"/>
                  </a:lnTo>
                  <a:lnTo>
                    <a:pt x="90" y="377"/>
                  </a:lnTo>
                  <a:lnTo>
                    <a:pt x="114" y="431"/>
                  </a:lnTo>
                  <a:lnTo>
                    <a:pt x="145" y="486"/>
                  </a:lnTo>
                  <a:lnTo>
                    <a:pt x="173" y="533"/>
                  </a:lnTo>
                  <a:lnTo>
                    <a:pt x="202" y="577"/>
                  </a:lnTo>
                  <a:lnTo>
                    <a:pt x="233" y="618"/>
                  </a:lnTo>
                  <a:lnTo>
                    <a:pt x="264" y="655"/>
                  </a:lnTo>
                  <a:lnTo>
                    <a:pt x="295" y="689"/>
                  </a:lnTo>
                  <a:lnTo>
                    <a:pt x="326" y="719"/>
                  </a:lnTo>
                  <a:lnTo>
                    <a:pt x="356" y="744"/>
                  </a:lnTo>
                  <a:lnTo>
                    <a:pt x="386" y="763"/>
                  </a:lnTo>
                  <a:lnTo>
                    <a:pt x="413" y="777"/>
                  </a:lnTo>
                  <a:lnTo>
                    <a:pt x="441" y="787"/>
                  </a:lnTo>
                  <a:lnTo>
                    <a:pt x="464" y="790"/>
                  </a:lnTo>
                  <a:lnTo>
                    <a:pt x="480" y="788"/>
                  </a:lnTo>
                  <a:lnTo>
                    <a:pt x="494" y="782"/>
                  </a:lnTo>
                  <a:lnTo>
                    <a:pt x="506" y="772"/>
                  </a:lnTo>
                  <a:lnTo>
                    <a:pt x="516" y="757"/>
                  </a:lnTo>
                  <a:lnTo>
                    <a:pt x="524" y="737"/>
                  </a:lnTo>
                  <a:lnTo>
                    <a:pt x="529" y="715"/>
                  </a:lnTo>
                  <a:lnTo>
                    <a:pt x="530" y="687"/>
                  </a:lnTo>
                  <a:lnTo>
                    <a:pt x="529" y="658"/>
                  </a:lnTo>
                  <a:lnTo>
                    <a:pt x="525" y="624"/>
                  </a:lnTo>
                  <a:lnTo>
                    <a:pt x="516" y="579"/>
                  </a:lnTo>
                  <a:lnTo>
                    <a:pt x="503" y="532"/>
                  </a:lnTo>
                  <a:lnTo>
                    <a:pt x="485" y="483"/>
                  </a:lnTo>
                  <a:lnTo>
                    <a:pt x="464" y="432"/>
                  </a:lnTo>
                  <a:lnTo>
                    <a:pt x="441" y="382"/>
                  </a:lnTo>
                  <a:lnTo>
                    <a:pt x="412" y="331"/>
                  </a:lnTo>
                  <a:lnTo>
                    <a:pt x="383" y="284"/>
                  </a:lnTo>
                  <a:lnTo>
                    <a:pt x="354" y="240"/>
                  </a:lnTo>
                  <a:lnTo>
                    <a:pt x="324" y="199"/>
                  </a:lnTo>
                  <a:lnTo>
                    <a:pt x="293" y="162"/>
                  </a:lnTo>
                  <a:lnTo>
                    <a:pt x="262" y="128"/>
                  </a:lnTo>
                  <a:lnTo>
                    <a:pt x="231" y="98"/>
                  </a:lnTo>
                  <a:lnTo>
                    <a:pt x="200" y="75"/>
                  </a:lnTo>
                  <a:lnTo>
                    <a:pt x="171" y="54"/>
                  </a:lnTo>
                  <a:lnTo>
                    <a:pt x="143" y="40"/>
                  </a:lnTo>
                  <a:lnTo>
                    <a:pt x="117" y="30"/>
                  </a:lnTo>
                  <a:lnTo>
                    <a:pt x="93" y="27"/>
                  </a:lnTo>
                  <a:close/>
                  <a:moveTo>
                    <a:pt x="93" y="0"/>
                  </a:moveTo>
                  <a:lnTo>
                    <a:pt x="121" y="2"/>
                  </a:lnTo>
                  <a:lnTo>
                    <a:pt x="149" y="12"/>
                  </a:lnTo>
                  <a:lnTo>
                    <a:pt x="179" y="27"/>
                  </a:lnTo>
                  <a:lnTo>
                    <a:pt x="211" y="49"/>
                  </a:lnTo>
                  <a:lnTo>
                    <a:pt x="243" y="73"/>
                  </a:lnTo>
                  <a:lnTo>
                    <a:pt x="276" y="105"/>
                  </a:lnTo>
                  <a:lnTo>
                    <a:pt x="309" y="139"/>
                  </a:lnTo>
                  <a:lnTo>
                    <a:pt x="343" y="178"/>
                  </a:lnTo>
                  <a:lnTo>
                    <a:pt x="375" y="222"/>
                  </a:lnTo>
                  <a:lnTo>
                    <a:pt x="406" y="268"/>
                  </a:lnTo>
                  <a:lnTo>
                    <a:pt x="436" y="318"/>
                  </a:lnTo>
                  <a:lnTo>
                    <a:pt x="464" y="370"/>
                  </a:lnTo>
                  <a:lnTo>
                    <a:pt x="489" y="422"/>
                  </a:lnTo>
                  <a:lnTo>
                    <a:pt x="511" y="473"/>
                  </a:lnTo>
                  <a:lnTo>
                    <a:pt x="529" y="524"/>
                  </a:lnTo>
                  <a:lnTo>
                    <a:pt x="542" y="573"/>
                  </a:lnTo>
                  <a:lnTo>
                    <a:pt x="552" y="619"/>
                  </a:lnTo>
                  <a:lnTo>
                    <a:pt x="556" y="659"/>
                  </a:lnTo>
                  <a:lnTo>
                    <a:pt x="557" y="694"/>
                  </a:lnTo>
                  <a:lnTo>
                    <a:pt x="555" y="725"/>
                  </a:lnTo>
                  <a:lnTo>
                    <a:pt x="548" y="752"/>
                  </a:lnTo>
                  <a:lnTo>
                    <a:pt x="538" y="775"/>
                  </a:lnTo>
                  <a:lnTo>
                    <a:pt x="525" y="793"/>
                  </a:lnTo>
                  <a:lnTo>
                    <a:pt x="507" y="806"/>
                  </a:lnTo>
                  <a:lnTo>
                    <a:pt x="486" y="815"/>
                  </a:lnTo>
                  <a:lnTo>
                    <a:pt x="464" y="817"/>
                  </a:lnTo>
                  <a:lnTo>
                    <a:pt x="437" y="815"/>
                  </a:lnTo>
                  <a:lnTo>
                    <a:pt x="408" y="805"/>
                  </a:lnTo>
                  <a:lnTo>
                    <a:pt x="379" y="790"/>
                  </a:lnTo>
                  <a:lnTo>
                    <a:pt x="346" y="770"/>
                  </a:lnTo>
                  <a:lnTo>
                    <a:pt x="314" y="744"/>
                  </a:lnTo>
                  <a:lnTo>
                    <a:pt x="281" y="712"/>
                  </a:lnTo>
                  <a:lnTo>
                    <a:pt x="248" y="678"/>
                  </a:lnTo>
                  <a:lnTo>
                    <a:pt x="215" y="639"/>
                  </a:lnTo>
                  <a:lnTo>
                    <a:pt x="183" y="595"/>
                  </a:lnTo>
                  <a:lnTo>
                    <a:pt x="152" y="549"/>
                  </a:lnTo>
                  <a:lnTo>
                    <a:pt x="121" y="499"/>
                  </a:lnTo>
                  <a:lnTo>
                    <a:pt x="96" y="452"/>
                  </a:lnTo>
                  <a:lnTo>
                    <a:pt x="72" y="405"/>
                  </a:lnTo>
                  <a:lnTo>
                    <a:pt x="52" y="359"/>
                  </a:lnTo>
                  <a:lnTo>
                    <a:pt x="35" y="314"/>
                  </a:lnTo>
                  <a:lnTo>
                    <a:pt x="21" y="272"/>
                  </a:lnTo>
                  <a:lnTo>
                    <a:pt x="11" y="230"/>
                  </a:lnTo>
                  <a:lnTo>
                    <a:pt x="4" y="191"/>
                  </a:lnTo>
                  <a:lnTo>
                    <a:pt x="0" y="154"/>
                  </a:lnTo>
                  <a:lnTo>
                    <a:pt x="0" y="121"/>
                  </a:lnTo>
                  <a:lnTo>
                    <a:pt x="3" y="91"/>
                  </a:lnTo>
                  <a:lnTo>
                    <a:pt x="9" y="65"/>
                  </a:lnTo>
                  <a:lnTo>
                    <a:pt x="19" y="42"/>
                  </a:lnTo>
                  <a:lnTo>
                    <a:pt x="33" y="24"/>
                  </a:lnTo>
                  <a:lnTo>
                    <a:pt x="50" y="11"/>
                  </a:lnTo>
                  <a:lnTo>
                    <a:pt x="70" y="2"/>
                  </a:lnTo>
                  <a:lnTo>
                    <a:pt x="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8" name="Freeform 13"/>
            <p:cNvSpPr>
              <a:spLocks/>
            </p:cNvSpPr>
            <p:nvPr userDrawn="1"/>
          </p:nvSpPr>
          <p:spPr bwMode="auto">
            <a:xfrm>
              <a:off x="5881688" y="5748338"/>
              <a:ext cx="90488" cy="88900"/>
            </a:xfrm>
            <a:custGeom>
              <a:avLst/>
              <a:gdLst>
                <a:gd name="T0" fmla="*/ 56 w 113"/>
                <a:gd name="T1" fmla="*/ 0 h 113"/>
                <a:gd name="T2" fmla="*/ 75 w 113"/>
                <a:gd name="T3" fmla="*/ 3 h 113"/>
                <a:gd name="T4" fmla="*/ 90 w 113"/>
                <a:gd name="T5" fmla="*/ 12 h 113"/>
                <a:gd name="T6" fmla="*/ 102 w 113"/>
                <a:gd name="T7" fmla="*/ 23 h 113"/>
                <a:gd name="T8" fmla="*/ 109 w 113"/>
                <a:gd name="T9" fmla="*/ 39 h 113"/>
                <a:gd name="T10" fmla="*/ 113 w 113"/>
                <a:gd name="T11" fmla="*/ 57 h 113"/>
                <a:gd name="T12" fmla="*/ 109 w 113"/>
                <a:gd name="T13" fmla="*/ 74 h 113"/>
                <a:gd name="T14" fmla="*/ 102 w 113"/>
                <a:gd name="T15" fmla="*/ 90 h 113"/>
                <a:gd name="T16" fmla="*/ 90 w 113"/>
                <a:gd name="T17" fmla="*/ 103 h 113"/>
                <a:gd name="T18" fmla="*/ 75 w 113"/>
                <a:gd name="T19" fmla="*/ 110 h 113"/>
                <a:gd name="T20" fmla="*/ 56 w 113"/>
                <a:gd name="T21" fmla="*/ 113 h 113"/>
                <a:gd name="T22" fmla="*/ 39 w 113"/>
                <a:gd name="T23" fmla="*/ 110 h 113"/>
                <a:gd name="T24" fmla="*/ 24 w 113"/>
                <a:gd name="T25" fmla="*/ 103 h 113"/>
                <a:gd name="T26" fmla="*/ 11 w 113"/>
                <a:gd name="T27" fmla="*/ 90 h 113"/>
                <a:gd name="T28" fmla="*/ 4 w 113"/>
                <a:gd name="T29" fmla="*/ 74 h 113"/>
                <a:gd name="T30" fmla="*/ 0 w 113"/>
                <a:gd name="T31" fmla="*/ 57 h 113"/>
                <a:gd name="T32" fmla="*/ 4 w 113"/>
                <a:gd name="T33" fmla="*/ 39 h 113"/>
                <a:gd name="T34" fmla="*/ 11 w 113"/>
                <a:gd name="T35" fmla="*/ 23 h 113"/>
                <a:gd name="T36" fmla="*/ 24 w 113"/>
                <a:gd name="T37" fmla="*/ 12 h 113"/>
                <a:gd name="T38" fmla="*/ 39 w 113"/>
                <a:gd name="T39" fmla="*/ 3 h 113"/>
                <a:gd name="T40" fmla="*/ 56 w 113"/>
                <a:gd name="T4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13">
                  <a:moveTo>
                    <a:pt x="56" y="0"/>
                  </a:moveTo>
                  <a:lnTo>
                    <a:pt x="75" y="3"/>
                  </a:lnTo>
                  <a:lnTo>
                    <a:pt x="90" y="12"/>
                  </a:lnTo>
                  <a:lnTo>
                    <a:pt x="102" y="23"/>
                  </a:lnTo>
                  <a:lnTo>
                    <a:pt x="109" y="39"/>
                  </a:lnTo>
                  <a:lnTo>
                    <a:pt x="113" y="57"/>
                  </a:lnTo>
                  <a:lnTo>
                    <a:pt x="109" y="74"/>
                  </a:lnTo>
                  <a:lnTo>
                    <a:pt x="102" y="90"/>
                  </a:lnTo>
                  <a:lnTo>
                    <a:pt x="90" y="103"/>
                  </a:lnTo>
                  <a:lnTo>
                    <a:pt x="75" y="110"/>
                  </a:lnTo>
                  <a:lnTo>
                    <a:pt x="56" y="113"/>
                  </a:lnTo>
                  <a:lnTo>
                    <a:pt x="39" y="110"/>
                  </a:lnTo>
                  <a:lnTo>
                    <a:pt x="24" y="103"/>
                  </a:lnTo>
                  <a:lnTo>
                    <a:pt x="11" y="90"/>
                  </a:lnTo>
                  <a:lnTo>
                    <a:pt x="4" y="74"/>
                  </a:lnTo>
                  <a:lnTo>
                    <a:pt x="0" y="57"/>
                  </a:lnTo>
                  <a:lnTo>
                    <a:pt x="4" y="39"/>
                  </a:lnTo>
                  <a:lnTo>
                    <a:pt x="11" y="23"/>
                  </a:lnTo>
                  <a:lnTo>
                    <a:pt x="24" y="12"/>
                  </a:lnTo>
                  <a:lnTo>
                    <a:pt x="39" y="3"/>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sp>
          <p:nvSpPr>
            <p:cNvPr id="19" name="Freeform 14"/>
            <p:cNvSpPr>
              <a:spLocks noEditPoints="1"/>
            </p:cNvSpPr>
            <p:nvPr userDrawn="1"/>
          </p:nvSpPr>
          <p:spPr bwMode="auto">
            <a:xfrm>
              <a:off x="5873751" y="5738813"/>
              <a:ext cx="106363" cy="106363"/>
            </a:xfrm>
            <a:custGeom>
              <a:avLst/>
              <a:gdLst>
                <a:gd name="T0" fmla="*/ 67 w 134"/>
                <a:gd name="T1" fmla="*/ 23 h 135"/>
                <a:gd name="T2" fmla="*/ 50 w 134"/>
                <a:gd name="T3" fmla="*/ 26 h 135"/>
                <a:gd name="T4" fmla="*/ 36 w 134"/>
                <a:gd name="T5" fmla="*/ 35 h 135"/>
                <a:gd name="T6" fmla="*/ 26 w 134"/>
                <a:gd name="T7" fmla="*/ 50 h 135"/>
                <a:gd name="T8" fmla="*/ 22 w 134"/>
                <a:gd name="T9" fmla="*/ 68 h 135"/>
                <a:gd name="T10" fmla="*/ 26 w 134"/>
                <a:gd name="T11" fmla="*/ 85 h 135"/>
                <a:gd name="T12" fmla="*/ 36 w 134"/>
                <a:gd name="T13" fmla="*/ 100 h 135"/>
                <a:gd name="T14" fmla="*/ 50 w 134"/>
                <a:gd name="T15" fmla="*/ 110 h 135"/>
                <a:gd name="T16" fmla="*/ 67 w 134"/>
                <a:gd name="T17" fmla="*/ 112 h 135"/>
                <a:gd name="T18" fmla="*/ 86 w 134"/>
                <a:gd name="T19" fmla="*/ 110 h 135"/>
                <a:gd name="T20" fmla="*/ 99 w 134"/>
                <a:gd name="T21" fmla="*/ 100 h 135"/>
                <a:gd name="T22" fmla="*/ 109 w 134"/>
                <a:gd name="T23" fmla="*/ 85 h 135"/>
                <a:gd name="T24" fmla="*/ 113 w 134"/>
                <a:gd name="T25" fmla="*/ 68 h 135"/>
                <a:gd name="T26" fmla="*/ 109 w 134"/>
                <a:gd name="T27" fmla="*/ 50 h 135"/>
                <a:gd name="T28" fmla="*/ 99 w 134"/>
                <a:gd name="T29" fmla="*/ 35 h 135"/>
                <a:gd name="T30" fmla="*/ 86 w 134"/>
                <a:gd name="T31" fmla="*/ 26 h 135"/>
                <a:gd name="T32" fmla="*/ 67 w 134"/>
                <a:gd name="T33" fmla="*/ 23 h 135"/>
                <a:gd name="T34" fmla="*/ 67 w 134"/>
                <a:gd name="T35" fmla="*/ 0 h 135"/>
                <a:gd name="T36" fmla="*/ 88 w 134"/>
                <a:gd name="T37" fmla="*/ 4 h 135"/>
                <a:gd name="T38" fmla="*/ 107 w 134"/>
                <a:gd name="T39" fmla="*/ 13 h 135"/>
                <a:gd name="T40" fmla="*/ 122 w 134"/>
                <a:gd name="T41" fmla="*/ 28 h 135"/>
                <a:gd name="T42" fmla="*/ 132 w 134"/>
                <a:gd name="T43" fmla="*/ 46 h 135"/>
                <a:gd name="T44" fmla="*/ 134 w 134"/>
                <a:gd name="T45" fmla="*/ 68 h 135"/>
                <a:gd name="T46" fmla="*/ 132 w 134"/>
                <a:gd name="T47" fmla="*/ 89 h 135"/>
                <a:gd name="T48" fmla="*/ 122 w 134"/>
                <a:gd name="T49" fmla="*/ 107 h 135"/>
                <a:gd name="T50" fmla="*/ 107 w 134"/>
                <a:gd name="T51" fmla="*/ 122 h 135"/>
                <a:gd name="T52" fmla="*/ 88 w 134"/>
                <a:gd name="T53" fmla="*/ 131 h 135"/>
                <a:gd name="T54" fmla="*/ 67 w 134"/>
                <a:gd name="T55" fmla="*/ 135 h 135"/>
                <a:gd name="T56" fmla="*/ 46 w 134"/>
                <a:gd name="T57" fmla="*/ 131 h 135"/>
                <a:gd name="T58" fmla="*/ 29 w 134"/>
                <a:gd name="T59" fmla="*/ 122 h 135"/>
                <a:gd name="T60" fmla="*/ 14 w 134"/>
                <a:gd name="T61" fmla="*/ 107 h 135"/>
                <a:gd name="T62" fmla="*/ 4 w 134"/>
                <a:gd name="T63" fmla="*/ 89 h 135"/>
                <a:gd name="T64" fmla="*/ 0 w 134"/>
                <a:gd name="T65" fmla="*/ 68 h 135"/>
                <a:gd name="T66" fmla="*/ 4 w 134"/>
                <a:gd name="T67" fmla="*/ 46 h 135"/>
                <a:gd name="T68" fmla="*/ 14 w 134"/>
                <a:gd name="T69" fmla="*/ 28 h 135"/>
                <a:gd name="T70" fmla="*/ 29 w 134"/>
                <a:gd name="T71" fmla="*/ 13 h 135"/>
                <a:gd name="T72" fmla="*/ 46 w 134"/>
                <a:gd name="T73" fmla="*/ 4 h 135"/>
                <a:gd name="T74" fmla="*/ 67 w 134"/>
                <a:gd name="T7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5">
                  <a:moveTo>
                    <a:pt x="67" y="23"/>
                  </a:moveTo>
                  <a:lnTo>
                    <a:pt x="50" y="26"/>
                  </a:lnTo>
                  <a:lnTo>
                    <a:pt x="36" y="35"/>
                  </a:lnTo>
                  <a:lnTo>
                    <a:pt x="26" y="50"/>
                  </a:lnTo>
                  <a:lnTo>
                    <a:pt x="22" y="68"/>
                  </a:lnTo>
                  <a:lnTo>
                    <a:pt x="26" y="85"/>
                  </a:lnTo>
                  <a:lnTo>
                    <a:pt x="36" y="100"/>
                  </a:lnTo>
                  <a:lnTo>
                    <a:pt x="50" y="110"/>
                  </a:lnTo>
                  <a:lnTo>
                    <a:pt x="67" y="112"/>
                  </a:lnTo>
                  <a:lnTo>
                    <a:pt x="86" y="110"/>
                  </a:lnTo>
                  <a:lnTo>
                    <a:pt x="99" y="100"/>
                  </a:lnTo>
                  <a:lnTo>
                    <a:pt x="109" y="85"/>
                  </a:lnTo>
                  <a:lnTo>
                    <a:pt x="113" y="68"/>
                  </a:lnTo>
                  <a:lnTo>
                    <a:pt x="109" y="50"/>
                  </a:lnTo>
                  <a:lnTo>
                    <a:pt x="99" y="35"/>
                  </a:lnTo>
                  <a:lnTo>
                    <a:pt x="86" y="26"/>
                  </a:lnTo>
                  <a:lnTo>
                    <a:pt x="67" y="23"/>
                  </a:lnTo>
                  <a:close/>
                  <a:moveTo>
                    <a:pt x="67" y="0"/>
                  </a:moveTo>
                  <a:lnTo>
                    <a:pt x="88" y="4"/>
                  </a:lnTo>
                  <a:lnTo>
                    <a:pt x="107" y="13"/>
                  </a:lnTo>
                  <a:lnTo>
                    <a:pt x="122" y="28"/>
                  </a:lnTo>
                  <a:lnTo>
                    <a:pt x="132" y="46"/>
                  </a:lnTo>
                  <a:lnTo>
                    <a:pt x="134" y="68"/>
                  </a:lnTo>
                  <a:lnTo>
                    <a:pt x="132" y="89"/>
                  </a:lnTo>
                  <a:lnTo>
                    <a:pt x="122" y="107"/>
                  </a:lnTo>
                  <a:lnTo>
                    <a:pt x="107" y="122"/>
                  </a:lnTo>
                  <a:lnTo>
                    <a:pt x="88" y="131"/>
                  </a:lnTo>
                  <a:lnTo>
                    <a:pt x="67" y="135"/>
                  </a:lnTo>
                  <a:lnTo>
                    <a:pt x="46" y="131"/>
                  </a:lnTo>
                  <a:lnTo>
                    <a:pt x="29" y="122"/>
                  </a:lnTo>
                  <a:lnTo>
                    <a:pt x="14" y="107"/>
                  </a:lnTo>
                  <a:lnTo>
                    <a:pt x="4" y="89"/>
                  </a:lnTo>
                  <a:lnTo>
                    <a:pt x="0" y="68"/>
                  </a:lnTo>
                  <a:lnTo>
                    <a:pt x="4" y="46"/>
                  </a:lnTo>
                  <a:lnTo>
                    <a:pt x="14" y="28"/>
                  </a:lnTo>
                  <a:lnTo>
                    <a:pt x="29" y="13"/>
                  </a:lnTo>
                  <a:lnTo>
                    <a:pt x="46" y="4"/>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p>
          </p:txBody>
        </p:sp>
      </p:grpSp>
    </p:spTree>
    <p:extLst>
      <p:ext uri="{BB962C8B-B14F-4D97-AF65-F5344CB8AC3E}">
        <p14:creationId xmlns:p14="http://schemas.microsoft.com/office/powerpoint/2010/main" val="884283391"/>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5"/>
            <a:ext cx="8136000" cy="4173017"/>
          </a:xfrm>
        </p:spPr>
        <p:txBody>
          <a:bodyPr/>
          <a:lstStyle>
            <a:lvl1pPr>
              <a:defRPr/>
            </a:lvl1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a:t>
            </a:r>
            <a:br>
              <a:rPr lang="cs-CZ" noProof="0" dirty="0"/>
            </a:br>
            <a:r>
              <a:rPr lang="cs-CZ" noProof="0" dirty="0"/>
              <a:t>Vzhled stránky můžete přepnout pomocí volby „Rozložení“.</a:t>
            </a:r>
          </a:p>
          <a:p>
            <a:pPr lvl="0"/>
            <a:endParaRPr lang="en-US" dirty="0"/>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Tree>
    <p:extLst>
      <p:ext uri="{BB962C8B-B14F-4D97-AF65-F5344CB8AC3E}">
        <p14:creationId xmlns:p14="http://schemas.microsoft.com/office/powerpoint/2010/main" val="3958354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lvl1pPr>
              <a:defRPr>
                <a:solidFill>
                  <a:srgbClr val="F24F00"/>
                </a:solidFill>
              </a:defRPr>
            </a:lvl1p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4000" y="2116800"/>
            <a:ext cx="3888000" cy="41760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Tree>
    <p:extLst>
      <p:ext uri="{BB962C8B-B14F-4D97-AF65-F5344CB8AC3E}">
        <p14:creationId xmlns:p14="http://schemas.microsoft.com/office/powerpoint/2010/main" val="2085608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4000" y="2281178"/>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680000" y="2210401"/>
            <a:ext cx="3888000" cy="4084439"/>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2000" b="1"/>
            </a:lvl1pPr>
          </a:lstStyle>
          <a:p>
            <a:pPr lvl="0"/>
            <a:r>
              <a:rPr lang="cs-CZ" dirty="0"/>
              <a:t>Podtitulek</a:t>
            </a:r>
          </a:p>
        </p:txBody>
      </p:sp>
    </p:spTree>
    <p:extLst>
      <p:ext uri="{BB962C8B-B14F-4D97-AF65-F5344CB8AC3E}">
        <p14:creationId xmlns:p14="http://schemas.microsoft.com/office/powerpoint/2010/main" val="1834926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2000" b="1"/>
            </a:lvl1pPr>
          </a:lstStyle>
          <a:p>
            <a:pPr lvl="0"/>
            <a:r>
              <a:rPr lang="cs-CZ" dirty="0"/>
              <a:t>Podtitulek</a:t>
            </a:r>
          </a:p>
        </p:txBody>
      </p:sp>
      <p:sp>
        <p:nvSpPr>
          <p:cNvPr id="9" name="Content Placeholder 2"/>
          <p:cNvSpPr>
            <a:spLocks noGrp="1"/>
          </p:cNvSpPr>
          <p:nvPr>
            <p:ph idx="1"/>
          </p:nvPr>
        </p:nvSpPr>
        <p:spPr>
          <a:xfrm>
            <a:off x="504000" y="2721202"/>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985574579"/>
      </p:ext>
    </p:extLst>
  </p:cSld>
  <p:clrMapOvr>
    <a:masterClrMapping/>
  </p:clrMapOvr>
  <p:extLst>
    <p:ext uri="{DCECCB84-F9BA-43D5-87BE-67443E8EF086}">
      <p15:sldGuideLst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18628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1"/>
            <a:ext cx="6876000" cy="846386"/>
          </a:xfrm>
        </p:spPr>
        <p:txBody>
          <a:bodyPr/>
          <a:lstStyle/>
          <a:p>
            <a:r>
              <a:rPr lang="cs-CZ"/>
              <a:t>KLIKNUTÍM VLOŽÍTE NADPIS SNÍMKU </a:t>
            </a:r>
            <a:br>
              <a:rPr lang="cs-CZ"/>
            </a:br>
            <a:r>
              <a:rPr lang="cs-CZ"/>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2088000" y="2103043"/>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2557"/>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2557"/>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Tree>
    <p:extLst>
      <p:ext uri="{BB962C8B-B14F-4D97-AF65-F5344CB8AC3E}">
        <p14:creationId xmlns:p14="http://schemas.microsoft.com/office/powerpoint/2010/main" val="3910443341"/>
      </p:ext>
    </p:extLst>
  </p:cSld>
  <p:clrMapOvr>
    <a:masterClrMapping/>
  </p:clrMapOvr>
  <p:extLst>
    <p:ext uri="{DCECCB84-F9BA-43D5-87BE-67443E8EF086}">
      <p15:sldGuideLst xmlns:p15="http://schemas.microsoft.com/office/powerpoint/2012/main">
        <p15:guide id="1" pos="317" userDrawn="1">
          <p15:clr>
            <a:srgbClr val="FBAE40"/>
          </p15:clr>
        </p15:guide>
        <p15:guide id="2" pos="5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31B56DF-B2D9-4F69-A834-C807721F3C2D}"/>
              </a:ext>
            </a:extLst>
          </p:cNvPr>
          <p:cNvGraphicFramePr>
            <a:graphicFrameLocks noChangeAspect="1"/>
          </p:cNvGraphicFramePr>
          <p:nvPr userDrawn="1">
            <p:custDataLst>
              <p:tags r:id="rId28"/>
            </p:custDataLst>
            <p:extLst>
              <p:ext uri="{D42A27DB-BD31-4B8C-83A1-F6EECF244321}">
                <p14:modId xmlns:p14="http://schemas.microsoft.com/office/powerpoint/2010/main" val="22272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0" imgW="416" imgH="416" progId="TCLayout.ActiveDocument.1">
                  <p:embed/>
                </p:oleObj>
              </mc:Choice>
              <mc:Fallback>
                <p:oleObj name="think-cell Slide" r:id="rId30" imgW="416" imgH="416" progId="TCLayout.ActiveDocument.1">
                  <p:embed/>
                  <p:pic>
                    <p:nvPicPr>
                      <p:cNvPr id="3" name="Objekt 2" hidden="1">
                        <a:extLst>
                          <a:ext uri="{FF2B5EF4-FFF2-40B4-BE49-F238E27FC236}">
                            <a16:creationId xmlns:a16="http://schemas.microsoft.com/office/drawing/2014/main" id="{A31B56DF-B2D9-4F69-A834-C807721F3C2D}"/>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Obdélník 1" hidden="1">
            <a:extLst>
              <a:ext uri="{FF2B5EF4-FFF2-40B4-BE49-F238E27FC236}">
                <a16:creationId xmlns:a16="http://schemas.microsoft.com/office/drawing/2014/main" id="{416D6C12-1E53-4B5E-A3C8-0EA9F1449C62}"/>
              </a:ext>
            </a:extLst>
          </p:cNvPr>
          <p:cNvSpPr/>
          <p:nvPr userDrawn="1">
            <p:custDataLst>
              <p:tags r:id="rId29"/>
            </p:custDataLst>
          </p:nvPr>
        </p:nvSpPr>
        <p:spPr bwMode="auto">
          <a:xfrm>
            <a:off x="0" y="0"/>
            <a:ext cx="158750" cy="158750"/>
          </a:xfrm>
          <a:prstGeom prst="rect">
            <a:avLst/>
          </a:prstGeom>
          <a:solidFill>
            <a:schemeClr val="bg2"/>
          </a:solidFill>
          <a:ln w="0">
            <a:noFill/>
            <a:prstDash val="solid"/>
            <a:round/>
            <a:headEnd/>
            <a:tailEnd/>
          </a:ln>
        </p:spPr>
        <p:txBody>
          <a:bodyPr vert="horz" wrap="none" lIns="0" tIns="0" rIns="0" bIns="0" numCol="1" spcCol="0" rtlCol="0" anchor="t" anchorCtr="0" compatLnSpc="1">
            <a:prstTxWarp prst="textNoShape">
              <a:avLst/>
            </a:prstTxWarp>
            <a:noAutofit/>
          </a:bodyPr>
          <a:lstStyle/>
          <a:p>
            <a:pPr marL="0" lvl="0" indent="0" algn="ctr"/>
            <a:endParaRPr lang="cs-CZ" sz="2400" b="0" i="0" baseline="0" dirty="0">
              <a:latin typeface="Futura CEZ Medium" pitchFamily="2" charset="0"/>
              <a:ea typeface="+mj-ea"/>
              <a:cs typeface="+mj-cs"/>
              <a:sym typeface="Futura CEZ Medium" pitchFamily="2" charset="0"/>
            </a:endParaRPr>
          </a:p>
        </p:txBody>
      </p:sp>
      <p:grpSp>
        <p:nvGrpSpPr>
          <p:cNvPr id="1111" name="McK Slide Elements"/>
          <p:cNvGrpSpPr>
            <a:grpSpLocks/>
          </p:cNvGrpSpPr>
          <p:nvPr/>
        </p:nvGrpSpPr>
        <p:grpSpPr bwMode="auto">
          <a:xfrm>
            <a:off x="1436802" y="941073"/>
            <a:ext cx="7584093" cy="5889393"/>
            <a:chOff x="887" y="581"/>
            <a:chExt cx="4682" cy="3636"/>
          </a:xfrm>
        </p:grpSpPr>
        <p:sp>
          <p:nvSpPr>
            <p:cNvPr id="1032" name="McK Measure" hidden="1"/>
            <p:cNvSpPr txBox="1">
              <a:spLocks noChangeArrowheads="1"/>
            </p:cNvSpPr>
            <p:nvPr userDrawn="1"/>
          </p:nvSpPr>
          <p:spPr bwMode="auto">
            <a:xfrm>
              <a:off x="887" y="581"/>
              <a:ext cx="4682" cy="152"/>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chemeClr val="bg1"/>
                  </a:solidFill>
                </a:rPr>
                <a:t>Měrná jednotka</a:t>
              </a:r>
            </a:p>
          </p:txBody>
        </p:sp>
        <p:sp>
          <p:nvSpPr>
            <p:cNvPr id="1033" name="McK Footnote" hidden="1"/>
            <p:cNvSpPr txBox="1">
              <a:spLocks noChangeArrowheads="1"/>
            </p:cNvSpPr>
            <p:nvPr userDrawn="1"/>
          </p:nvSpPr>
          <p:spPr bwMode="auto">
            <a:xfrm>
              <a:off x="889" y="3966"/>
              <a:ext cx="4437" cy="251"/>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rPr>
                <a:t>	</a:t>
              </a:r>
              <a:r>
                <a:rPr lang="cs-CZ" sz="1200" i="0">
                  <a:solidFill>
                    <a:schemeClr val="bg1"/>
                  </a:solidFill>
                </a:rPr>
                <a:t>*	Poznámka</a:t>
              </a:r>
            </a:p>
            <a:p>
              <a:pPr marL="450850" indent="-450850" algn="l" defTabSz="895350" eaLnBrk="1" hangingPunct="1">
                <a:spcBef>
                  <a:spcPct val="20000"/>
                </a:spcBef>
                <a:buClrTx/>
                <a:buFontTx/>
                <a:buNone/>
                <a:tabLst>
                  <a:tab pos="404813" algn="r"/>
                </a:tabLst>
              </a:pPr>
              <a:r>
                <a:rPr lang="cs-CZ" sz="1200" i="0">
                  <a:solidFill>
                    <a:schemeClr val="bg1"/>
                  </a:solidFill>
                </a:rPr>
                <a:t>	Zdroj:	Zdroj</a:t>
              </a:r>
            </a:p>
          </p:txBody>
        </p:sp>
      </p:grpSp>
      <p:sp>
        <p:nvSpPr>
          <p:cNvPr id="1052" name="Working Draft" hidden="1"/>
          <p:cNvSpPr txBox="1">
            <a:spLocks noChangeArrowheads="1"/>
          </p:cNvSpPr>
          <p:nvPr/>
        </p:nvSpPr>
        <p:spPr bwMode="auto">
          <a:xfrm rot="5400000">
            <a:off x="8183062" y="2810255"/>
            <a:ext cx="1779333" cy="92333"/>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t>Working Draft - Last Modified 10/4/2004 4:39:06 PM</a:t>
            </a:r>
            <a:endParaRPr lang="cs-CZ" sz="600" i="0"/>
          </a:p>
        </p:txBody>
      </p:sp>
      <p:sp>
        <p:nvSpPr>
          <p:cNvPr id="1053" name="Printed" hidden="1"/>
          <p:cNvSpPr txBox="1">
            <a:spLocks noChangeArrowheads="1"/>
          </p:cNvSpPr>
          <p:nvPr/>
        </p:nvSpPr>
        <p:spPr bwMode="auto">
          <a:xfrm rot="5400000">
            <a:off x="8538126" y="3931118"/>
            <a:ext cx="1069203" cy="92333"/>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t>Printed 10/4/2004 11:36:40 AM</a:t>
            </a:r>
          </a:p>
        </p:txBody>
      </p:sp>
      <p:sp>
        <p:nvSpPr>
          <p:cNvPr id="1116" name="Rectangle 92"/>
          <p:cNvSpPr>
            <a:spLocks noGrp="1" noChangeArrowheads="1"/>
          </p:cNvSpPr>
          <p:nvPr>
            <p:ph type="title"/>
          </p:nvPr>
        </p:nvSpPr>
        <p:spPr bwMode="auto">
          <a:xfrm>
            <a:off x="503999" y="438133"/>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0"/>
            <a:endParaRPr lang="en-US" dirty="0"/>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1030" name="pg num"/>
          <p:cNvSpPr>
            <a:spLocks noGrp="1" noChangeArrowheads="1"/>
          </p:cNvSpPr>
          <p:nvPr>
            <p:ph type="sldNum" sz="quarter" idx="4"/>
          </p:nvPr>
        </p:nvSpPr>
        <p:spPr bwMode="auto">
          <a:xfrm>
            <a:off x="504002" y="6652179"/>
            <a:ext cx="311009"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pPr/>
              <a:t>‹#›</a:t>
            </a:fld>
            <a:endParaRPr lang="cs-CZ" dirty="0"/>
          </a:p>
        </p:txBody>
      </p:sp>
      <p:grpSp>
        <p:nvGrpSpPr>
          <p:cNvPr id="12" name="Skupina 11"/>
          <p:cNvGrpSpPr/>
          <p:nvPr/>
        </p:nvGrpSpPr>
        <p:grpSpPr>
          <a:xfrm>
            <a:off x="7897239" y="468000"/>
            <a:ext cx="756000" cy="756000"/>
            <a:chOff x="3088481" y="1235075"/>
            <a:chExt cx="2952894" cy="2952894"/>
          </a:xfrm>
        </p:grpSpPr>
        <p:sp>
          <p:nvSpPr>
            <p:cNvPr id="5" name="Obdélník 4"/>
            <p:cNvSpPr/>
            <p:nvPr userDrawn="1"/>
          </p:nvSpPr>
          <p:spPr bwMode="auto">
            <a:xfrm>
              <a:off x="3088481" y="1235075"/>
              <a:ext cx="2952894" cy="2952894"/>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9" name="Volný tvar 8"/>
            <p:cNvSpPr/>
            <p:nvPr userDrawn="1"/>
          </p:nvSpPr>
          <p:spPr bwMode="auto">
            <a:xfrm>
              <a:off x="3648075" y="1800225"/>
              <a:ext cx="1831181" cy="1840706"/>
            </a:xfrm>
            <a:custGeom>
              <a:avLst/>
              <a:gdLst>
                <a:gd name="connsiteX0" fmla="*/ 0 w 1831181"/>
                <a:gd name="connsiteY0" fmla="*/ 0 h 1840706"/>
                <a:gd name="connsiteX1" fmla="*/ 1831181 w 1831181"/>
                <a:gd name="connsiteY1" fmla="*/ 0 h 1840706"/>
                <a:gd name="connsiteX2" fmla="*/ 1831181 w 1831181"/>
                <a:gd name="connsiteY2" fmla="*/ 364331 h 1840706"/>
                <a:gd name="connsiteX3" fmla="*/ 366713 w 1831181"/>
                <a:gd name="connsiteY3" fmla="*/ 364331 h 1840706"/>
                <a:gd name="connsiteX4" fmla="*/ 366713 w 1831181"/>
                <a:gd name="connsiteY4" fmla="*/ 1459706 h 1840706"/>
                <a:gd name="connsiteX5" fmla="*/ 1828800 w 1831181"/>
                <a:gd name="connsiteY5" fmla="*/ 1459706 h 1840706"/>
                <a:gd name="connsiteX6" fmla="*/ 1828800 w 1831181"/>
                <a:gd name="connsiteY6" fmla="*/ 1840706 h 1840706"/>
                <a:gd name="connsiteX7" fmla="*/ 2381 w 1831181"/>
                <a:gd name="connsiteY7" fmla="*/ 1840706 h 1840706"/>
                <a:gd name="connsiteX8" fmla="*/ 0 w 1831181"/>
                <a:gd name="connsiteY8" fmla="*/ 0 h 184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181" h="1840706">
                  <a:moveTo>
                    <a:pt x="0" y="0"/>
                  </a:moveTo>
                  <a:lnTo>
                    <a:pt x="1831181" y="0"/>
                  </a:lnTo>
                  <a:lnTo>
                    <a:pt x="1831181" y="364331"/>
                  </a:lnTo>
                  <a:lnTo>
                    <a:pt x="366713" y="364331"/>
                  </a:lnTo>
                  <a:lnTo>
                    <a:pt x="366713" y="1459706"/>
                  </a:lnTo>
                  <a:lnTo>
                    <a:pt x="1828800" y="1459706"/>
                  </a:lnTo>
                  <a:lnTo>
                    <a:pt x="1828800" y="1840706"/>
                  </a:lnTo>
                  <a:lnTo>
                    <a:pt x="2381" y="1840706"/>
                  </a:lnTo>
                  <a:cubicBezTo>
                    <a:pt x="1587" y="1227137"/>
                    <a:pt x="794" y="613569"/>
                    <a:pt x="0" y="0"/>
                  </a:cubicBezTo>
                  <a:close/>
                </a:path>
              </a:pathLst>
            </a:cu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10" name="Obdélník 9"/>
            <p:cNvSpPr/>
            <p:nvPr userDrawn="1"/>
          </p:nvSpPr>
          <p:spPr bwMode="auto">
            <a:xfrm>
              <a:off x="4391024" y="2531270"/>
              <a:ext cx="1088231" cy="364331"/>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grpSp>
      <p:sp>
        <p:nvSpPr>
          <p:cNvPr id="13" name="Obdélník 12"/>
          <p:cNvSpPr/>
          <p:nvPr/>
        </p:nvSpPr>
        <p:spPr bwMode="auto">
          <a:xfrm>
            <a:off x="0" y="6620194"/>
            <a:ext cx="9144000" cy="241697"/>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a:ln>
                <a:noFill/>
              </a:ln>
              <a:solidFill>
                <a:schemeClr val="tx1"/>
              </a:solidFill>
              <a:effectLst/>
              <a:latin typeface="Arial" pitchFamily="34" charset="0"/>
            </a:endParaRPr>
          </a:p>
        </p:txBody>
      </p:sp>
      <p:sp>
        <p:nvSpPr>
          <p:cNvPr id="31" name="Freeform 6"/>
          <p:cNvSpPr>
            <a:spLocks noEditPoints="1"/>
          </p:cNvSpPr>
          <p:nvPr/>
        </p:nvSpPr>
        <p:spPr bwMode="auto">
          <a:xfrm>
            <a:off x="7807885" y="6666123"/>
            <a:ext cx="837807" cy="122525"/>
          </a:xfrm>
          <a:custGeom>
            <a:avLst/>
            <a:gdLst>
              <a:gd name="T0" fmla="*/ 1189 w 3542"/>
              <a:gd name="T1" fmla="*/ 206 h 521"/>
              <a:gd name="T2" fmla="*/ 1271 w 3542"/>
              <a:gd name="T3" fmla="*/ 299 h 521"/>
              <a:gd name="T4" fmla="*/ 1279 w 3542"/>
              <a:gd name="T5" fmla="*/ 228 h 521"/>
              <a:gd name="T6" fmla="*/ 1215 w 3542"/>
              <a:gd name="T7" fmla="*/ 206 h 521"/>
              <a:gd name="T8" fmla="*/ 3532 w 3542"/>
              <a:gd name="T9" fmla="*/ 450 h 521"/>
              <a:gd name="T10" fmla="*/ 3266 w 3542"/>
              <a:gd name="T11" fmla="*/ 144 h 521"/>
              <a:gd name="T12" fmla="*/ 3045 w 3542"/>
              <a:gd name="T13" fmla="*/ 288 h 521"/>
              <a:gd name="T14" fmla="*/ 3181 w 3542"/>
              <a:gd name="T15" fmla="*/ 450 h 521"/>
              <a:gd name="T16" fmla="*/ 1505 w 3542"/>
              <a:gd name="T17" fmla="*/ 144 h 521"/>
              <a:gd name="T18" fmla="*/ 1226 w 3542"/>
              <a:gd name="T19" fmla="*/ 144 h 521"/>
              <a:gd name="T20" fmla="*/ 1325 w 3542"/>
              <a:gd name="T21" fmla="*/ 171 h 521"/>
              <a:gd name="T22" fmla="*/ 1362 w 3542"/>
              <a:gd name="T23" fmla="*/ 284 h 521"/>
              <a:gd name="T24" fmla="*/ 1303 w 3542"/>
              <a:gd name="T25" fmla="*/ 364 h 521"/>
              <a:gd name="T26" fmla="*/ 1189 w 3542"/>
              <a:gd name="T27" fmla="*/ 511 h 521"/>
              <a:gd name="T28" fmla="*/ 784 w 3542"/>
              <a:gd name="T29" fmla="*/ 355 h 521"/>
              <a:gd name="T30" fmla="*/ 796 w 3542"/>
              <a:gd name="T31" fmla="*/ 420 h 521"/>
              <a:gd name="T32" fmla="*/ 883 w 3542"/>
              <a:gd name="T33" fmla="*/ 452 h 521"/>
              <a:gd name="T34" fmla="*/ 937 w 3542"/>
              <a:gd name="T35" fmla="*/ 401 h 521"/>
              <a:gd name="T36" fmla="*/ 1014 w 3542"/>
              <a:gd name="T37" fmla="*/ 144 h 521"/>
              <a:gd name="T38" fmla="*/ 986 w 3542"/>
              <a:gd name="T39" fmla="*/ 467 h 521"/>
              <a:gd name="T40" fmla="*/ 862 w 3542"/>
              <a:gd name="T41" fmla="*/ 520 h 521"/>
              <a:gd name="T42" fmla="*/ 739 w 3542"/>
              <a:gd name="T43" fmla="*/ 467 h 521"/>
              <a:gd name="T44" fmla="*/ 711 w 3542"/>
              <a:gd name="T45" fmla="*/ 144 h 521"/>
              <a:gd name="T46" fmla="*/ 647 w 3542"/>
              <a:gd name="T47" fmla="*/ 144 h 521"/>
              <a:gd name="T48" fmla="*/ 417 w 3542"/>
              <a:gd name="T49" fmla="*/ 355 h 521"/>
              <a:gd name="T50" fmla="*/ 167 w 3542"/>
              <a:gd name="T51" fmla="*/ 139 h 521"/>
              <a:gd name="T52" fmla="*/ 195 w 3542"/>
              <a:gd name="T53" fmla="*/ 214 h 521"/>
              <a:gd name="T54" fmla="*/ 116 w 3542"/>
              <a:gd name="T55" fmla="*/ 205 h 521"/>
              <a:gd name="T56" fmla="*/ 100 w 3542"/>
              <a:gd name="T57" fmla="*/ 256 h 521"/>
              <a:gd name="T58" fmla="*/ 174 w 3542"/>
              <a:gd name="T59" fmla="*/ 293 h 521"/>
              <a:gd name="T60" fmla="*/ 241 w 3542"/>
              <a:gd name="T61" fmla="*/ 337 h 521"/>
              <a:gd name="T62" fmla="*/ 251 w 3542"/>
              <a:gd name="T63" fmla="*/ 449 h 521"/>
              <a:gd name="T64" fmla="*/ 157 w 3542"/>
              <a:gd name="T65" fmla="*/ 519 h 521"/>
              <a:gd name="T66" fmla="*/ 22 w 3542"/>
              <a:gd name="T67" fmla="*/ 476 h 521"/>
              <a:gd name="T68" fmla="*/ 89 w 3542"/>
              <a:gd name="T69" fmla="*/ 447 h 521"/>
              <a:gd name="T70" fmla="*/ 173 w 3542"/>
              <a:gd name="T71" fmla="*/ 434 h 521"/>
              <a:gd name="T72" fmla="*/ 164 w 3542"/>
              <a:gd name="T73" fmla="*/ 366 h 521"/>
              <a:gd name="T74" fmla="*/ 81 w 3542"/>
              <a:gd name="T75" fmla="*/ 331 h 521"/>
              <a:gd name="T76" fmla="*/ 19 w 3542"/>
              <a:gd name="T77" fmla="*/ 244 h 521"/>
              <a:gd name="T78" fmla="*/ 83 w 3542"/>
              <a:gd name="T79" fmla="*/ 148 h 521"/>
              <a:gd name="T80" fmla="*/ 2397 w 3542"/>
              <a:gd name="T81" fmla="*/ 511 h 521"/>
              <a:gd name="T82" fmla="*/ 2021 w 3542"/>
              <a:gd name="T83" fmla="*/ 511 h 521"/>
              <a:gd name="T84" fmla="*/ 2858 w 3542"/>
              <a:gd name="T85" fmla="*/ 148 h 521"/>
              <a:gd name="T86" fmla="*/ 2815 w 3542"/>
              <a:gd name="T87" fmla="*/ 203 h 521"/>
              <a:gd name="T88" fmla="*/ 2702 w 3542"/>
              <a:gd name="T89" fmla="*/ 238 h 521"/>
              <a:gd name="T90" fmla="*/ 2670 w 3542"/>
              <a:gd name="T91" fmla="*/ 355 h 521"/>
              <a:gd name="T92" fmla="*/ 2742 w 3542"/>
              <a:gd name="T93" fmla="*/ 445 h 521"/>
              <a:gd name="T94" fmla="*/ 2860 w 3542"/>
              <a:gd name="T95" fmla="*/ 433 h 521"/>
              <a:gd name="T96" fmla="*/ 2813 w 3542"/>
              <a:gd name="T97" fmla="*/ 519 h 521"/>
              <a:gd name="T98" fmla="*/ 2661 w 3542"/>
              <a:gd name="T99" fmla="*/ 475 h 521"/>
              <a:gd name="T100" fmla="*/ 2591 w 3542"/>
              <a:gd name="T101" fmla="*/ 329 h 521"/>
              <a:gd name="T102" fmla="*/ 2662 w 3542"/>
              <a:gd name="T103" fmla="*/ 181 h 521"/>
              <a:gd name="T104" fmla="*/ 1609 w 3542"/>
              <a:gd name="T105" fmla="*/ 135 h 521"/>
              <a:gd name="T106" fmla="*/ 1962 w 3542"/>
              <a:gd name="T107" fmla="*/ 519 h 521"/>
              <a:gd name="T108" fmla="*/ 1609 w 3542"/>
              <a:gd name="T109" fmla="*/ 135 h 521"/>
              <a:gd name="T110" fmla="*/ 2781 w 3542"/>
              <a:gd name="T111" fmla="*/ 11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42" h="521">
                <a:moveTo>
                  <a:pt x="2211" y="243"/>
                </a:moveTo>
                <a:lnTo>
                  <a:pt x="2156" y="376"/>
                </a:lnTo>
                <a:lnTo>
                  <a:pt x="2263" y="376"/>
                </a:lnTo>
                <a:lnTo>
                  <a:pt x="2211" y="243"/>
                </a:lnTo>
                <a:close/>
                <a:moveTo>
                  <a:pt x="1189" y="206"/>
                </a:moveTo>
                <a:lnTo>
                  <a:pt x="1189" y="313"/>
                </a:lnTo>
                <a:lnTo>
                  <a:pt x="1219" y="313"/>
                </a:lnTo>
                <a:lnTo>
                  <a:pt x="1241" y="311"/>
                </a:lnTo>
                <a:lnTo>
                  <a:pt x="1257" y="307"/>
                </a:lnTo>
                <a:lnTo>
                  <a:pt x="1271" y="299"/>
                </a:lnTo>
                <a:lnTo>
                  <a:pt x="1281" y="289"/>
                </a:lnTo>
                <a:lnTo>
                  <a:pt x="1286" y="276"/>
                </a:lnTo>
                <a:lnTo>
                  <a:pt x="1288" y="260"/>
                </a:lnTo>
                <a:lnTo>
                  <a:pt x="1286" y="243"/>
                </a:lnTo>
                <a:lnTo>
                  <a:pt x="1279" y="228"/>
                </a:lnTo>
                <a:lnTo>
                  <a:pt x="1269" y="218"/>
                </a:lnTo>
                <a:lnTo>
                  <a:pt x="1259" y="212"/>
                </a:lnTo>
                <a:lnTo>
                  <a:pt x="1247" y="208"/>
                </a:lnTo>
                <a:lnTo>
                  <a:pt x="1233" y="206"/>
                </a:lnTo>
                <a:lnTo>
                  <a:pt x="1215" y="206"/>
                </a:lnTo>
                <a:lnTo>
                  <a:pt x="1189" y="206"/>
                </a:lnTo>
                <a:close/>
                <a:moveTo>
                  <a:pt x="3266" y="144"/>
                </a:moveTo>
                <a:lnTo>
                  <a:pt x="3542" y="144"/>
                </a:lnTo>
                <a:lnTo>
                  <a:pt x="3359" y="450"/>
                </a:lnTo>
                <a:lnTo>
                  <a:pt x="3532" y="450"/>
                </a:lnTo>
                <a:lnTo>
                  <a:pt x="3532" y="511"/>
                </a:lnTo>
                <a:lnTo>
                  <a:pt x="3237" y="511"/>
                </a:lnTo>
                <a:lnTo>
                  <a:pt x="3421" y="206"/>
                </a:lnTo>
                <a:lnTo>
                  <a:pt x="3266" y="206"/>
                </a:lnTo>
                <a:lnTo>
                  <a:pt x="3266" y="144"/>
                </a:lnTo>
                <a:close/>
                <a:moveTo>
                  <a:pt x="2973" y="144"/>
                </a:moveTo>
                <a:lnTo>
                  <a:pt x="3181" y="144"/>
                </a:lnTo>
                <a:lnTo>
                  <a:pt x="3181" y="206"/>
                </a:lnTo>
                <a:lnTo>
                  <a:pt x="3045" y="206"/>
                </a:lnTo>
                <a:lnTo>
                  <a:pt x="3045" y="288"/>
                </a:lnTo>
                <a:lnTo>
                  <a:pt x="3175" y="288"/>
                </a:lnTo>
                <a:lnTo>
                  <a:pt x="3175" y="350"/>
                </a:lnTo>
                <a:lnTo>
                  <a:pt x="3045" y="350"/>
                </a:lnTo>
                <a:lnTo>
                  <a:pt x="3045" y="450"/>
                </a:lnTo>
                <a:lnTo>
                  <a:pt x="3181" y="450"/>
                </a:lnTo>
                <a:lnTo>
                  <a:pt x="3181" y="511"/>
                </a:lnTo>
                <a:lnTo>
                  <a:pt x="2973" y="511"/>
                </a:lnTo>
                <a:lnTo>
                  <a:pt x="2973" y="144"/>
                </a:lnTo>
                <a:close/>
                <a:moveTo>
                  <a:pt x="1432" y="144"/>
                </a:moveTo>
                <a:lnTo>
                  <a:pt x="1505" y="144"/>
                </a:lnTo>
                <a:lnTo>
                  <a:pt x="1505" y="511"/>
                </a:lnTo>
                <a:lnTo>
                  <a:pt x="1432" y="511"/>
                </a:lnTo>
                <a:lnTo>
                  <a:pt x="1432" y="144"/>
                </a:lnTo>
                <a:close/>
                <a:moveTo>
                  <a:pt x="1116" y="144"/>
                </a:moveTo>
                <a:lnTo>
                  <a:pt x="1226" y="144"/>
                </a:lnTo>
                <a:lnTo>
                  <a:pt x="1253" y="145"/>
                </a:lnTo>
                <a:lnTo>
                  <a:pt x="1275" y="147"/>
                </a:lnTo>
                <a:lnTo>
                  <a:pt x="1294" y="153"/>
                </a:lnTo>
                <a:lnTo>
                  <a:pt x="1311" y="161"/>
                </a:lnTo>
                <a:lnTo>
                  <a:pt x="1325" y="171"/>
                </a:lnTo>
                <a:lnTo>
                  <a:pt x="1341" y="189"/>
                </a:lnTo>
                <a:lnTo>
                  <a:pt x="1353" y="210"/>
                </a:lnTo>
                <a:lnTo>
                  <a:pt x="1361" y="235"/>
                </a:lnTo>
                <a:lnTo>
                  <a:pt x="1364" y="260"/>
                </a:lnTo>
                <a:lnTo>
                  <a:pt x="1362" y="284"/>
                </a:lnTo>
                <a:lnTo>
                  <a:pt x="1356" y="306"/>
                </a:lnTo>
                <a:lnTo>
                  <a:pt x="1346" y="326"/>
                </a:lnTo>
                <a:lnTo>
                  <a:pt x="1333" y="343"/>
                </a:lnTo>
                <a:lnTo>
                  <a:pt x="1320" y="355"/>
                </a:lnTo>
                <a:lnTo>
                  <a:pt x="1303" y="364"/>
                </a:lnTo>
                <a:lnTo>
                  <a:pt x="1284" y="370"/>
                </a:lnTo>
                <a:lnTo>
                  <a:pt x="1261" y="374"/>
                </a:lnTo>
                <a:lnTo>
                  <a:pt x="1237" y="376"/>
                </a:lnTo>
                <a:lnTo>
                  <a:pt x="1189" y="376"/>
                </a:lnTo>
                <a:lnTo>
                  <a:pt x="1189" y="511"/>
                </a:lnTo>
                <a:lnTo>
                  <a:pt x="1116" y="511"/>
                </a:lnTo>
                <a:lnTo>
                  <a:pt x="1116" y="144"/>
                </a:lnTo>
                <a:close/>
                <a:moveTo>
                  <a:pt x="711" y="144"/>
                </a:moveTo>
                <a:lnTo>
                  <a:pt x="784" y="144"/>
                </a:lnTo>
                <a:lnTo>
                  <a:pt x="784" y="355"/>
                </a:lnTo>
                <a:lnTo>
                  <a:pt x="784" y="374"/>
                </a:lnTo>
                <a:lnTo>
                  <a:pt x="785" y="390"/>
                </a:lnTo>
                <a:lnTo>
                  <a:pt x="788" y="401"/>
                </a:lnTo>
                <a:lnTo>
                  <a:pt x="792" y="411"/>
                </a:lnTo>
                <a:lnTo>
                  <a:pt x="796" y="420"/>
                </a:lnTo>
                <a:lnTo>
                  <a:pt x="808" y="434"/>
                </a:lnTo>
                <a:lnTo>
                  <a:pt x="823" y="446"/>
                </a:lnTo>
                <a:lnTo>
                  <a:pt x="842" y="452"/>
                </a:lnTo>
                <a:lnTo>
                  <a:pt x="862" y="454"/>
                </a:lnTo>
                <a:lnTo>
                  <a:pt x="883" y="452"/>
                </a:lnTo>
                <a:lnTo>
                  <a:pt x="901" y="446"/>
                </a:lnTo>
                <a:lnTo>
                  <a:pt x="916" y="434"/>
                </a:lnTo>
                <a:lnTo>
                  <a:pt x="928" y="420"/>
                </a:lnTo>
                <a:lnTo>
                  <a:pt x="934" y="411"/>
                </a:lnTo>
                <a:lnTo>
                  <a:pt x="937" y="401"/>
                </a:lnTo>
                <a:lnTo>
                  <a:pt x="939" y="390"/>
                </a:lnTo>
                <a:lnTo>
                  <a:pt x="940" y="374"/>
                </a:lnTo>
                <a:lnTo>
                  <a:pt x="940" y="355"/>
                </a:lnTo>
                <a:lnTo>
                  <a:pt x="940" y="144"/>
                </a:lnTo>
                <a:lnTo>
                  <a:pt x="1014" y="144"/>
                </a:lnTo>
                <a:lnTo>
                  <a:pt x="1014" y="368"/>
                </a:lnTo>
                <a:lnTo>
                  <a:pt x="1012" y="399"/>
                </a:lnTo>
                <a:lnTo>
                  <a:pt x="1007" y="425"/>
                </a:lnTo>
                <a:lnTo>
                  <a:pt x="999" y="448"/>
                </a:lnTo>
                <a:lnTo>
                  <a:pt x="986" y="467"/>
                </a:lnTo>
                <a:lnTo>
                  <a:pt x="968" y="485"/>
                </a:lnTo>
                <a:lnTo>
                  <a:pt x="946" y="500"/>
                </a:lnTo>
                <a:lnTo>
                  <a:pt x="921" y="511"/>
                </a:lnTo>
                <a:lnTo>
                  <a:pt x="893" y="518"/>
                </a:lnTo>
                <a:lnTo>
                  <a:pt x="862" y="520"/>
                </a:lnTo>
                <a:lnTo>
                  <a:pt x="832" y="518"/>
                </a:lnTo>
                <a:lnTo>
                  <a:pt x="804" y="511"/>
                </a:lnTo>
                <a:lnTo>
                  <a:pt x="779" y="500"/>
                </a:lnTo>
                <a:lnTo>
                  <a:pt x="756" y="485"/>
                </a:lnTo>
                <a:lnTo>
                  <a:pt x="739" y="467"/>
                </a:lnTo>
                <a:lnTo>
                  <a:pt x="726" y="448"/>
                </a:lnTo>
                <a:lnTo>
                  <a:pt x="717" y="425"/>
                </a:lnTo>
                <a:lnTo>
                  <a:pt x="713" y="399"/>
                </a:lnTo>
                <a:lnTo>
                  <a:pt x="711" y="368"/>
                </a:lnTo>
                <a:lnTo>
                  <a:pt x="711" y="144"/>
                </a:lnTo>
                <a:close/>
                <a:moveTo>
                  <a:pt x="343" y="144"/>
                </a:moveTo>
                <a:lnTo>
                  <a:pt x="417" y="144"/>
                </a:lnTo>
                <a:lnTo>
                  <a:pt x="417" y="299"/>
                </a:lnTo>
                <a:lnTo>
                  <a:pt x="554" y="144"/>
                </a:lnTo>
                <a:lnTo>
                  <a:pt x="647" y="144"/>
                </a:lnTo>
                <a:lnTo>
                  <a:pt x="488" y="313"/>
                </a:lnTo>
                <a:lnTo>
                  <a:pt x="656" y="511"/>
                </a:lnTo>
                <a:lnTo>
                  <a:pt x="559" y="511"/>
                </a:lnTo>
                <a:lnTo>
                  <a:pt x="425" y="346"/>
                </a:lnTo>
                <a:lnTo>
                  <a:pt x="417" y="355"/>
                </a:lnTo>
                <a:lnTo>
                  <a:pt x="417" y="511"/>
                </a:lnTo>
                <a:lnTo>
                  <a:pt x="343" y="511"/>
                </a:lnTo>
                <a:lnTo>
                  <a:pt x="343" y="144"/>
                </a:lnTo>
                <a:close/>
                <a:moveTo>
                  <a:pt x="136" y="137"/>
                </a:moveTo>
                <a:lnTo>
                  <a:pt x="167" y="139"/>
                </a:lnTo>
                <a:lnTo>
                  <a:pt x="196" y="148"/>
                </a:lnTo>
                <a:lnTo>
                  <a:pt x="222" y="161"/>
                </a:lnTo>
                <a:lnTo>
                  <a:pt x="247" y="179"/>
                </a:lnTo>
                <a:lnTo>
                  <a:pt x="209" y="227"/>
                </a:lnTo>
                <a:lnTo>
                  <a:pt x="195" y="214"/>
                </a:lnTo>
                <a:lnTo>
                  <a:pt x="180" y="204"/>
                </a:lnTo>
                <a:lnTo>
                  <a:pt x="164" y="199"/>
                </a:lnTo>
                <a:lnTo>
                  <a:pt x="148" y="198"/>
                </a:lnTo>
                <a:lnTo>
                  <a:pt x="131" y="200"/>
                </a:lnTo>
                <a:lnTo>
                  <a:pt x="116" y="205"/>
                </a:lnTo>
                <a:lnTo>
                  <a:pt x="105" y="215"/>
                </a:lnTo>
                <a:lnTo>
                  <a:pt x="97" y="225"/>
                </a:lnTo>
                <a:lnTo>
                  <a:pt x="95" y="238"/>
                </a:lnTo>
                <a:lnTo>
                  <a:pt x="96" y="247"/>
                </a:lnTo>
                <a:lnTo>
                  <a:pt x="100" y="256"/>
                </a:lnTo>
                <a:lnTo>
                  <a:pt x="107" y="263"/>
                </a:lnTo>
                <a:lnTo>
                  <a:pt x="118" y="270"/>
                </a:lnTo>
                <a:lnTo>
                  <a:pt x="132" y="277"/>
                </a:lnTo>
                <a:lnTo>
                  <a:pt x="151" y="285"/>
                </a:lnTo>
                <a:lnTo>
                  <a:pt x="174" y="293"/>
                </a:lnTo>
                <a:lnTo>
                  <a:pt x="191" y="300"/>
                </a:lnTo>
                <a:lnTo>
                  <a:pt x="206" y="307"/>
                </a:lnTo>
                <a:lnTo>
                  <a:pt x="216" y="314"/>
                </a:lnTo>
                <a:lnTo>
                  <a:pt x="227" y="322"/>
                </a:lnTo>
                <a:lnTo>
                  <a:pt x="241" y="337"/>
                </a:lnTo>
                <a:lnTo>
                  <a:pt x="252" y="356"/>
                </a:lnTo>
                <a:lnTo>
                  <a:pt x="257" y="376"/>
                </a:lnTo>
                <a:lnTo>
                  <a:pt x="260" y="399"/>
                </a:lnTo>
                <a:lnTo>
                  <a:pt x="257" y="426"/>
                </a:lnTo>
                <a:lnTo>
                  <a:pt x="251" y="449"/>
                </a:lnTo>
                <a:lnTo>
                  <a:pt x="239" y="469"/>
                </a:lnTo>
                <a:lnTo>
                  <a:pt x="224" y="487"/>
                </a:lnTo>
                <a:lnTo>
                  <a:pt x="204" y="502"/>
                </a:lnTo>
                <a:lnTo>
                  <a:pt x="183" y="511"/>
                </a:lnTo>
                <a:lnTo>
                  <a:pt x="157" y="519"/>
                </a:lnTo>
                <a:lnTo>
                  <a:pt x="129" y="521"/>
                </a:lnTo>
                <a:lnTo>
                  <a:pt x="98" y="518"/>
                </a:lnTo>
                <a:lnTo>
                  <a:pt x="70" y="510"/>
                </a:lnTo>
                <a:lnTo>
                  <a:pt x="44" y="496"/>
                </a:lnTo>
                <a:lnTo>
                  <a:pt x="22" y="476"/>
                </a:lnTo>
                <a:lnTo>
                  <a:pt x="0" y="451"/>
                </a:lnTo>
                <a:lnTo>
                  <a:pt x="48" y="405"/>
                </a:lnTo>
                <a:lnTo>
                  <a:pt x="58" y="423"/>
                </a:lnTo>
                <a:lnTo>
                  <a:pt x="72" y="436"/>
                </a:lnTo>
                <a:lnTo>
                  <a:pt x="89" y="447"/>
                </a:lnTo>
                <a:lnTo>
                  <a:pt x="107" y="453"/>
                </a:lnTo>
                <a:lnTo>
                  <a:pt x="127" y="455"/>
                </a:lnTo>
                <a:lnTo>
                  <a:pt x="145" y="452"/>
                </a:lnTo>
                <a:lnTo>
                  <a:pt x="161" y="446"/>
                </a:lnTo>
                <a:lnTo>
                  <a:pt x="173" y="434"/>
                </a:lnTo>
                <a:lnTo>
                  <a:pt x="182" y="420"/>
                </a:lnTo>
                <a:lnTo>
                  <a:pt x="184" y="403"/>
                </a:lnTo>
                <a:lnTo>
                  <a:pt x="182" y="388"/>
                </a:lnTo>
                <a:lnTo>
                  <a:pt x="175" y="377"/>
                </a:lnTo>
                <a:lnTo>
                  <a:pt x="164" y="366"/>
                </a:lnTo>
                <a:lnTo>
                  <a:pt x="157" y="362"/>
                </a:lnTo>
                <a:lnTo>
                  <a:pt x="147" y="357"/>
                </a:lnTo>
                <a:lnTo>
                  <a:pt x="132" y="351"/>
                </a:lnTo>
                <a:lnTo>
                  <a:pt x="111" y="344"/>
                </a:lnTo>
                <a:lnTo>
                  <a:pt x="81" y="331"/>
                </a:lnTo>
                <a:lnTo>
                  <a:pt x="57" y="319"/>
                </a:lnTo>
                <a:lnTo>
                  <a:pt x="40" y="304"/>
                </a:lnTo>
                <a:lnTo>
                  <a:pt x="28" y="287"/>
                </a:lnTo>
                <a:lnTo>
                  <a:pt x="22" y="267"/>
                </a:lnTo>
                <a:lnTo>
                  <a:pt x="19" y="244"/>
                </a:lnTo>
                <a:lnTo>
                  <a:pt x="22" y="219"/>
                </a:lnTo>
                <a:lnTo>
                  <a:pt x="30" y="197"/>
                </a:lnTo>
                <a:lnTo>
                  <a:pt x="44" y="176"/>
                </a:lnTo>
                <a:lnTo>
                  <a:pt x="62" y="159"/>
                </a:lnTo>
                <a:lnTo>
                  <a:pt x="83" y="148"/>
                </a:lnTo>
                <a:lnTo>
                  <a:pt x="108" y="140"/>
                </a:lnTo>
                <a:lnTo>
                  <a:pt x="136" y="137"/>
                </a:lnTo>
                <a:close/>
                <a:moveTo>
                  <a:pt x="2183" y="135"/>
                </a:moveTo>
                <a:lnTo>
                  <a:pt x="2239" y="135"/>
                </a:lnTo>
                <a:lnTo>
                  <a:pt x="2397" y="511"/>
                </a:lnTo>
                <a:lnTo>
                  <a:pt x="2318" y="511"/>
                </a:lnTo>
                <a:lnTo>
                  <a:pt x="2286" y="434"/>
                </a:lnTo>
                <a:lnTo>
                  <a:pt x="2132" y="434"/>
                </a:lnTo>
                <a:lnTo>
                  <a:pt x="2099" y="511"/>
                </a:lnTo>
                <a:lnTo>
                  <a:pt x="2021" y="511"/>
                </a:lnTo>
                <a:lnTo>
                  <a:pt x="2183" y="135"/>
                </a:lnTo>
                <a:close/>
                <a:moveTo>
                  <a:pt x="2790" y="135"/>
                </a:moveTo>
                <a:lnTo>
                  <a:pt x="2814" y="136"/>
                </a:lnTo>
                <a:lnTo>
                  <a:pt x="2835" y="140"/>
                </a:lnTo>
                <a:lnTo>
                  <a:pt x="2858" y="148"/>
                </a:lnTo>
                <a:lnTo>
                  <a:pt x="2882" y="157"/>
                </a:lnTo>
                <a:lnTo>
                  <a:pt x="2882" y="242"/>
                </a:lnTo>
                <a:lnTo>
                  <a:pt x="2859" y="223"/>
                </a:lnTo>
                <a:lnTo>
                  <a:pt x="2838" y="210"/>
                </a:lnTo>
                <a:lnTo>
                  <a:pt x="2815" y="203"/>
                </a:lnTo>
                <a:lnTo>
                  <a:pt x="2790" y="201"/>
                </a:lnTo>
                <a:lnTo>
                  <a:pt x="2765" y="203"/>
                </a:lnTo>
                <a:lnTo>
                  <a:pt x="2741" y="210"/>
                </a:lnTo>
                <a:lnTo>
                  <a:pt x="2721" y="222"/>
                </a:lnTo>
                <a:lnTo>
                  <a:pt x="2702" y="238"/>
                </a:lnTo>
                <a:lnTo>
                  <a:pt x="2687" y="257"/>
                </a:lnTo>
                <a:lnTo>
                  <a:pt x="2676" y="278"/>
                </a:lnTo>
                <a:lnTo>
                  <a:pt x="2670" y="303"/>
                </a:lnTo>
                <a:lnTo>
                  <a:pt x="2667" y="329"/>
                </a:lnTo>
                <a:lnTo>
                  <a:pt x="2670" y="355"/>
                </a:lnTo>
                <a:lnTo>
                  <a:pt x="2676" y="379"/>
                </a:lnTo>
                <a:lnTo>
                  <a:pt x="2687" y="400"/>
                </a:lnTo>
                <a:lnTo>
                  <a:pt x="2702" y="418"/>
                </a:lnTo>
                <a:lnTo>
                  <a:pt x="2721" y="434"/>
                </a:lnTo>
                <a:lnTo>
                  <a:pt x="2742" y="445"/>
                </a:lnTo>
                <a:lnTo>
                  <a:pt x="2766" y="452"/>
                </a:lnTo>
                <a:lnTo>
                  <a:pt x="2791" y="454"/>
                </a:lnTo>
                <a:lnTo>
                  <a:pt x="2816" y="452"/>
                </a:lnTo>
                <a:lnTo>
                  <a:pt x="2839" y="445"/>
                </a:lnTo>
                <a:lnTo>
                  <a:pt x="2860" y="433"/>
                </a:lnTo>
                <a:lnTo>
                  <a:pt x="2882" y="414"/>
                </a:lnTo>
                <a:lnTo>
                  <a:pt x="2882" y="499"/>
                </a:lnTo>
                <a:lnTo>
                  <a:pt x="2858" y="508"/>
                </a:lnTo>
                <a:lnTo>
                  <a:pt x="2835" y="516"/>
                </a:lnTo>
                <a:lnTo>
                  <a:pt x="2813" y="519"/>
                </a:lnTo>
                <a:lnTo>
                  <a:pt x="2790" y="520"/>
                </a:lnTo>
                <a:lnTo>
                  <a:pt x="2754" y="517"/>
                </a:lnTo>
                <a:lnTo>
                  <a:pt x="2721" y="508"/>
                </a:lnTo>
                <a:lnTo>
                  <a:pt x="2689" y="494"/>
                </a:lnTo>
                <a:lnTo>
                  <a:pt x="2661" y="475"/>
                </a:lnTo>
                <a:lnTo>
                  <a:pt x="2637" y="453"/>
                </a:lnTo>
                <a:lnTo>
                  <a:pt x="2618" y="427"/>
                </a:lnTo>
                <a:lnTo>
                  <a:pt x="2604" y="397"/>
                </a:lnTo>
                <a:lnTo>
                  <a:pt x="2594" y="364"/>
                </a:lnTo>
                <a:lnTo>
                  <a:pt x="2591" y="329"/>
                </a:lnTo>
                <a:lnTo>
                  <a:pt x="2594" y="294"/>
                </a:lnTo>
                <a:lnTo>
                  <a:pt x="2604" y="261"/>
                </a:lnTo>
                <a:lnTo>
                  <a:pt x="2618" y="232"/>
                </a:lnTo>
                <a:lnTo>
                  <a:pt x="2637" y="204"/>
                </a:lnTo>
                <a:lnTo>
                  <a:pt x="2662" y="181"/>
                </a:lnTo>
                <a:lnTo>
                  <a:pt x="2689" y="162"/>
                </a:lnTo>
                <a:lnTo>
                  <a:pt x="2721" y="147"/>
                </a:lnTo>
                <a:lnTo>
                  <a:pt x="2754" y="138"/>
                </a:lnTo>
                <a:lnTo>
                  <a:pt x="2790" y="135"/>
                </a:lnTo>
                <a:close/>
                <a:moveTo>
                  <a:pt x="1609" y="135"/>
                </a:moveTo>
                <a:lnTo>
                  <a:pt x="1660" y="135"/>
                </a:lnTo>
                <a:lnTo>
                  <a:pt x="1889" y="392"/>
                </a:lnTo>
                <a:lnTo>
                  <a:pt x="1889" y="144"/>
                </a:lnTo>
                <a:lnTo>
                  <a:pt x="1962" y="144"/>
                </a:lnTo>
                <a:lnTo>
                  <a:pt x="1962" y="519"/>
                </a:lnTo>
                <a:lnTo>
                  <a:pt x="1912" y="519"/>
                </a:lnTo>
                <a:lnTo>
                  <a:pt x="1682" y="262"/>
                </a:lnTo>
                <a:lnTo>
                  <a:pt x="1682" y="511"/>
                </a:lnTo>
                <a:lnTo>
                  <a:pt x="1609" y="511"/>
                </a:lnTo>
                <a:lnTo>
                  <a:pt x="1609" y="135"/>
                </a:lnTo>
                <a:close/>
                <a:moveTo>
                  <a:pt x="2720" y="0"/>
                </a:moveTo>
                <a:lnTo>
                  <a:pt x="2781" y="49"/>
                </a:lnTo>
                <a:lnTo>
                  <a:pt x="2843" y="0"/>
                </a:lnTo>
                <a:lnTo>
                  <a:pt x="2878" y="32"/>
                </a:lnTo>
                <a:lnTo>
                  <a:pt x="2781" y="110"/>
                </a:lnTo>
                <a:lnTo>
                  <a:pt x="2685" y="32"/>
                </a:lnTo>
                <a:lnTo>
                  <a:pt x="27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cs-CZ">
              <a:ln>
                <a:noFill/>
              </a:ln>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2" r:id="rId4"/>
    <p:sldLayoutId id="2147483663" r:id="rId5"/>
    <p:sldLayoutId id="2147483664" r:id="rId6"/>
    <p:sldLayoutId id="2147483665"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Layout" Target="../slideLayouts/slideLayout2.xml"/><Relationship Id="rId4" Type="http://schemas.openxmlformats.org/officeDocument/2006/relationships/tags" Target="../tags/tag1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Layout" Target="../slideLayouts/slideLayout2.xml"/><Relationship Id="rId4"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3237" y="1257257"/>
            <a:ext cx="7483004" cy="3132011"/>
          </a:xfrm>
        </p:spPr>
        <p:txBody>
          <a:bodyPr/>
          <a:lstStyle/>
          <a:p>
            <a:r>
              <a:rPr lang="cs-CZ" dirty="0"/>
              <a:t>Obnovitelné zdroje energie v ČR</a:t>
            </a:r>
            <a:br>
              <a:rPr lang="cs-CZ" dirty="0"/>
            </a:br>
            <a:r>
              <a:rPr lang="cs-CZ" dirty="0"/>
              <a:t>příležitosti a výzvy</a:t>
            </a:r>
            <a:br>
              <a:rPr lang="cs-CZ" dirty="0"/>
            </a:br>
            <a:br>
              <a:rPr lang="cs-CZ" dirty="0"/>
            </a:br>
            <a:r>
              <a:rPr lang="cs-CZ" dirty="0"/>
              <a:t>efektivní financování OZE v ČR</a:t>
            </a:r>
            <a:br>
              <a:rPr lang="cs-CZ" dirty="0"/>
            </a:br>
            <a:endParaRPr lang="cs-CZ" sz="2800" dirty="0"/>
          </a:p>
        </p:txBody>
      </p:sp>
      <p:sp>
        <p:nvSpPr>
          <p:cNvPr id="3" name="Zástupný symbol pro text 2"/>
          <p:cNvSpPr>
            <a:spLocks noGrp="1"/>
          </p:cNvSpPr>
          <p:nvPr>
            <p:ph type="body" sz="quarter" idx="10"/>
          </p:nvPr>
        </p:nvSpPr>
        <p:spPr/>
        <p:txBody>
          <a:bodyPr/>
          <a:lstStyle/>
          <a:p>
            <a:r>
              <a:rPr lang="cs-CZ" dirty="0"/>
              <a:t>23. února 2021</a:t>
            </a:r>
          </a:p>
        </p:txBody>
      </p:sp>
      <p:sp>
        <p:nvSpPr>
          <p:cNvPr id="4" name="Zástupný symbol pro text 3"/>
          <p:cNvSpPr>
            <a:spLocks noGrp="1"/>
          </p:cNvSpPr>
          <p:nvPr>
            <p:ph type="body" sz="quarter" idx="11"/>
          </p:nvPr>
        </p:nvSpPr>
        <p:spPr>
          <a:xfrm>
            <a:off x="503237" y="5760001"/>
            <a:ext cx="3732861" cy="653500"/>
          </a:xfrm>
        </p:spPr>
        <p:txBody>
          <a:bodyPr/>
          <a:lstStyle/>
          <a:p>
            <a:r>
              <a:rPr lang="cs-CZ" dirty="0"/>
              <a:t>Zuzana Krejčiříková</a:t>
            </a:r>
          </a:p>
          <a:p>
            <a:r>
              <a:rPr lang="cs-CZ" dirty="0"/>
              <a:t>ředitelka Public Affairs Skupiny ČEZ</a:t>
            </a:r>
          </a:p>
        </p:txBody>
      </p:sp>
    </p:spTree>
    <p:extLst>
      <p:ext uri="{BB962C8B-B14F-4D97-AF65-F5344CB8AC3E}">
        <p14:creationId xmlns:p14="http://schemas.microsoft.com/office/powerpoint/2010/main" val="3982637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A78317D-94EB-49BB-923C-927ECCEFD125}"/>
              </a:ext>
            </a:extLst>
          </p:cNvPr>
          <p:cNvGraphicFramePr>
            <a:graphicFrameLocks noChangeAspect="1"/>
          </p:cNvGraphicFramePr>
          <p:nvPr>
            <p:custDataLst>
              <p:tags r:id="rId2"/>
            </p:custData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38" imgH="338" progId="TCLayout.ActiveDocument.1">
                  <p:embed/>
                </p:oleObj>
              </mc:Choice>
              <mc:Fallback>
                <p:oleObj name="think-cell Slide" r:id="rId6" imgW="338" imgH="338" progId="TCLayout.ActiveDocument.1">
                  <p:embed/>
                  <p:pic>
                    <p:nvPicPr>
                      <p:cNvPr id="5" name="Objekt 4" hidden="1">
                        <a:extLst>
                          <a:ext uri="{FF2B5EF4-FFF2-40B4-BE49-F238E27FC236}">
                            <a16:creationId xmlns:a16="http://schemas.microsoft.com/office/drawing/2014/main" id="{FA78317D-94EB-49BB-923C-927ECCEFD125}"/>
                          </a:ext>
                        </a:extLst>
                      </p:cNvPr>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6" name="Obdélník 5" hidden="1">
            <a:extLst>
              <a:ext uri="{FF2B5EF4-FFF2-40B4-BE49-F238E27FC236}">
                <a16:creationId xmlns:a16="http://schemas.microsoft.com/office/drawing/2014/main" id="{22F09DFD-F6A7-46AC-81A1-DF5C20C794E8}"/>
              </a:ext>
            </a:extLst>
          </p:cNvPr>
          <p:cNvSpPr/>
          <p:nvPr>
            <p:custDataLst>
              <p:tags r:id="rId3"/>
            </p:custDataLst>
          </p:nvPr>
        </p:nvSpPr>
        <p:spPr bwMode="auto">
          <a:xfrm>
            <a:off x="0" y="857250"/>
            <a:ext cx="158750" cy="15875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defTabSz="652463"/>
            <a:endParaRPr lang="cs-CZ" sz="2400" i="0" dirty="0">
              <a:latin typeface="Futura CEZ Medium" pitchFamily="2" charset="0"/>
              <a:ea typeface="+mj-ea"/>
              <a:cs typeface="+mj-cs"/>
              <a:sym typeface="Futura CEZ Medium" pitchFamily="2" charset="0"/>
            </a:endParaRPr>
          </a:p>
        </p:txBody>
      </p:sp>
      <p:sp>
        <p:nvSpPr>
          <p:cNvPr id="2" name="Nadpis 1">
            <a:extLst>
              <a:ext uri="{FF2B5EF4-FFF2-40B4-BE49-F238E27FC236}">
                <a16:creationId xmlns:a16="http://schemas.microsoft.com/office/drawing/2014/main" id="{737FD7FC-52CE-4029-97B5-17EE76CC3716}"/>
              </a:ext>
            </a:extLst>
          </p:cNvPr>
          <p:cNvSpPr>
            <a:spLocks noGrp="1"/>
          </p:cNvSpPr>
          <p:nvPr>
            <p:ph type="title"/>
          </p:nvPr>
        </p:nvSpPr>
        <p:spPr>
          <a:xfrm>
            <a:off x="504002" y="892190"/>
            <a:ext cx="7380367" cy="391389"/>
          </a:xfrm>
        </p:spPr>
        <p:txBody>
          <a:bodyPr/>
          <a:lstStyle/>
          <a:p>
            <a:r>
              <a:rPr lang="cs-CZ" dirty="0"/>
              <a:t>EU začíná realizovat </a:t>
            </a:r>
            <a:r>
              <a:rPr lang="cs-CZ" dirty="0" err="1"/>
              <a:t>klimaneutralitu</a:t>
            </a:r>
            <a:endParaRPr lang="cs-CZ" dirty="0"/>
          </a:p>
        </p:txBody>
      </p:sp>
      <p:sp>
        <p:nvSpPr>
          <p:cNvPr id="4" name="Zástupný symbol pro číslo snímku 3">
            <a:extLst>
              <a:ext uri="{FF2B5EF4-FFF2-40B4-BE49-F238E27FC236}">
                <a16:creationId xmlns:a16="http://schemas.microsoft.com/office/drawing/2014/main" id="{4FDA01AD-6A4F-4578-A94C-D5A86997DDE6}"/>
              </a:ext>
            </a:extLst>
          </p:cNvPr>
          <p:cNvSpPr>
            <a:spLocks noGrp="1"/>
          </p:cNvSpPr>
          <p:nvPr>
            <p:ph type="sldNum" sz="quarter" idx="10"/>
          </p:nvPr>
        </p:nvSpPr>
        <p:spPr/>
        <p:txBody>
          <a:bodyPr/>
          <a:lstStyle/>
          <a:p>
            <a:fld id="{569EC6D3-E5AC-407E-ABD5-BD9CA53279C2}" type="slidenum">
              <a:rPr lang="cs-CZ" smtClean="0"/>
              <a:pPr/>
              <a:t>1</a:t>
            </a:fld>
            <a:endParaRPr lang="cs-CZ" dirty="0"/>
          </a:p>
        </p:txBody>
      </p:sp>
      <p:grpSp>
        <p:nvGrpSpPr>
          <p:cNvPr id="7" name="Group 4">
            <a:extLst>
              <a:ext uri="{FF2B5EF4-FFF2-40B4-BE49-F238E27FC236}">
                <a16:creationId xmlns:a16="http://schemas.microsoft.com/office/drawing/2014/main" id="{E06FF87C-BD82-4AF1-9B55-B42110D21937}"/>
              </a:ext>
            </a:extLst>
          </p:cNvPr>
          <p:cNvGrpSpPr>
            <a:grpSpLocks/>
          </p:cNvGrpSpPr>
          <p:nvPr/>
        </p:nvGrpSpPr>
        <p:grpSpPr bwMode="auto">
          <a:xfrm>
            <a:off x="395537" y="2323322"/>
            <a:ext cx="1701169" cy="3464193"/>
            <a:chOff x="2089" y="1431"/>
            <a:chExt cx="1133" cy="2389"/>
          </a:xfrm>
        </p:grpSpPr>
        <p:sp>
          <p:nvSpPr>
            <p:cNvPr id="8" name="AutoShape 5">
              <a:extLst>
                <a:ext uri="{FF2B5EF4-FFF2-40B4-BE49-F238E27FC236}">
                  <a16:creationId xmlns:a16="http://schemas.microsoft.com/office/drawing/2014/main" id="{FD4078EC-D18B-43FB-9E1B-F9744FD78772}"/>
                </a:ext>
              </a:extLst>
            </p:cNvPr>
            <p:cNvSpPr>
              <a:spLocks noChangeArrowheads="1"/>
            </p:cNvSpPr>
            <p:nvPr/>
          </p:nvSpPr>
          <p:spPr bwMode="auto">
            <a:xfrm>
              <a:off x="2094" y="1431"/>
              <a:ext cx="1100" cy="729"/>
            </a:xfrm>
            <a:prstGeom prst="homePlate">
              <a:avLst>
                <a:gd name="adj" fmla="val 13230"/>
              </a:avLst>
            </a:prstGeom>
            <a:solidFill>
              <a:schemeClr val="bg1"/>
            </a:solidFill>
            <a:ln w="12700" algn="ctr">
              <a:solidFill>
                <a:srgbClr val="000000"/>
              </a:solidFill>
              <a:prstDash val="sysDot"/>
              <a:miter lim="800000"/>
              <a:headEnd/>
              <a:tailEnd/>
            </a:ln>
          </p:spPr>
          <p:txBody>
            <a:bodyPr lIns="35201" tIns="35201" rIns="35201" bIns="35201" anchor="ctr"/>
            <a:lstStyle>
              <a:lvl1pPr defTabSz="639763">
                <a:defRPr sz="1200" b="1">
                  <a:solidFill>
                    <a:schemeClr val="tx1"/>
                  </a:solidFill>
                  <a:latin typeface="Arial" pitchFamily="34" charset="0"/>
                </a:defRPr>
              </a:lvl1pPr>
              <a:lvl2pPr marL="742950" indent="-285750"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nSpc>
                  <a:spcPct val="110000"/>
                </a:lnSpc>
                <a:spcBef>
                  <a:spcPct val="0"/>
                </a:spcBef>
                <a:buClrTx/>
                <a:defRPr/>
              </a:pPr>
              <a:endParaRPr lang="cs-CZ" altLang="cs-CZ" b="0" dirty="0">
                <a:solidFill>
                  <a:srgbClr val="000000"/>
                </a:solidFill>
                <a:cs typeface="Arial" charset="0"/>
              </a:endParaRPr>
            </a:p>
          </p:txBody>
        </p:sp>
        <p:sp>
          <p:nvSpPr>
            <p:cNvPr id="9" name="Text Box 6">
              <a:extLst>
                <a:ext uri="{FF2B5EF4-FFF2-40B4-BE49-F238E27FC236}">
                  <a16:creationId xmlns:a16="http://schemas.microsoft.com/office/drawing/2014/main" id="{B89782F3-5DFE-4DD8-88F0-62B6B5E8791D}"/>
                </a:ext>
              </a:extLst>
            </p:cNvPr>
            <p:cNvSpPr txBox="1">
              <a:spLocks noChangeArrowheads="1"/>
            </p:cNvSpPr>
            <p:nvPr/>
          </p:nvSpPr>
          <p:spPr bwMode="auto">
            <a:xfrm>
              <a:off x="2094" y="1439"/>
              <a:ext cx="1025" cy="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9564" tIns="44782" rIns="89564" bIns="44782">
              <a:spAutoFit/>
            </a:bodyPr>
            <a:lstStyle>
              <a:lvl1pPr defTabSz="895350">
                <a:defRPr sz="1200" b="1">
                  <a:solidFill>
                    <a:schemeClr val="tx1"/>
                  </a:solidFill>
                  <a:latin typeface="Arial" pitchFamily="34" charset="0"/>
                </a:defRPr>
              </a:lvl1pPr>
              <a:lvl2pPr marL="742950" indent="-285750" defTabSz="895350">
                <a:defRPr sz="1200" b="1">
                  <a:solidFill>
                    <a:schemeClr val="tx1"/>
                  </a:solidFill>
                  <a:latin typeface="Arial" pitchFamily="34" charset="0"/>
                </a:defRPr>
              </a:lvl2pPr>
              <a:lvl3pPr marL="1143000" indent="-228600" defTabSz="895350">
                <a:defRPr sz="1200" b="1">
                  <a:solidFill>
                    <a:schemeClr val="tx1"/>
                  </a:solidFill>
                  <a:latin typeface="Arial" pitchFamily="34" charset="0"/>
                </a:defRPr>
              </a:lvl3pPr>
              <a:lvl4pPr marL="1600200" indent="-228600" defTabSz="895350">
                <a:defRPr sz="1200" b="1">
                  <a:solidFill>
                    <a:schemeClr val="tx1"/>
                  </a:solidFill>
                  <a:latin typeface="Arial" pitchFamily="34" charset="0"/>
                </a:defRPr>
              </a:lvl4pPr>
              <a:lvl5pPr marL="2057400" indent="-228600" defTabSz="895350">
                <a:defRPr sz="1200" b="1">
                  <a:solidFill>
                    <a:schemeClr val="tx1"/>
                  </a:solidFill>
                  <a:latin typeface="Arial" pitchFamily="34" charset="0"/>
                </a:defRPr>
              </a:lvl5pPr>
              <a:lvl6pPr marL="25146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gn="l" eaLnBrk="1" hangingPunct="1">
                <a:lnSpc>
                  <a:spcPct val="110000"/>
                </a:lnSpc>
                <a:spcBef>
                  <a:spcPct val="0"/>
                </a:spcBef>
                <a:buClrTx/>
                <a:defRPr/>
              </a:pPr>
              <a:r>
                <a:rPr lang="cs-CZ" altLang="cs-CZ" sz="1400" i="0" dirty="0">
                  <a:solidFill>
                    <a:srgbClr val="F24F00"/>
                  </a:solidFill>
                  <a:cs typeface="Arial" charset="0"/>
                </a:rPr>
                <a:t>Snížení</a:t>
              </a:r>
              <a:r>
                <a:rPr lang="cs-CZ" altLang="cs-CZ" sz="1400" i="0" dirty="0">
                  <a:solidFill>
                    <a:srgbClr val="000000"/>
                  </a:solidFill>
                  <a:cs typeface="Arial" charset="0"/>
                </a:rPr>
                <a:t> </a:t>
              </a:r>
              <a:r>
                <a:rPr lang="cs-CZ" altLang="cs-CZ" sz="1400" i="0" dirty="0">
                  <a:solidFill>
                    <a:srgbClr val="F24F00"/>
                  </a:solidFill>
                  <a:cs typeface="Arial" charset="0"/>
                </a:rPr>
                <a:t>emisí skleníkových plynů  </a:t>
              </a:r>
              <a:r>
                <a:rPr lang="cs-CZ" altLang="cs-CZ" i="0" dirty="0">
                  <a:solidFill>
                    <a:srgbClr val="000000"/>
                  </a:solidFill>
                  <a:cs typeface="Arial" charset="0"/>
                </a:rPr>
                <a:t>oproti </a:t>
              </a:r>
            </a:p>
            <a:p>
              <a:pPr algn="l" eaLnBrk="1" hangingPunct="1">
                <a:lnSpc>
                  <a:spcPct val="110000"/>
                </a:lnSpc>
                <a:spcBef>
                  <a:spcPct val="0"/>
                </a:spcBef>
                <a:buClrTx/>
                <a:defRPr/>
              </a:pPr>
              <a:r>
                <a:rPr lang="cs-CZ" altLang="cs-CZ" i="0" dirty="0">
                  <a:solidFill>
                    <a:srgbClr val="000000"/>
                  </a:solidFill>
                  <a:cs typeface="Arial" charset="0"/>
                </a:rPr>
                <a:t>stavu v roce 1990</a:t>
              </a:r>
              <a:endParaRPr lang="en-US" altLang="cs-CZ" i="0" dirty="0">
                <a:solidFill>
                  <a:srgbClr val="000000"/>
                </a:solidFill>
                <a:cs typeface="Arial" charset="0"/>
              </a:endParaRPr>
            </a:p>
          </p:txBody>
        </p:sp>
        <p:sp>
          <p:nvSpPr>
            <p:cNvPr id="10" name="AutoShape 7">
              <a:extLst>
                <a:ext uri="{FF2B5EF4-FFF2-40B4-BE49-F238E27FC236}">
                  <a16:creationId xmlns:a16="http://schemas.microsoft.com/office/drawing/2014/main" id="{8E56A329-F122-4B08-A440-F5A4B482531A}"/>
                </a:ext>
              </a:extLst>
            </p:cNvPr>
            <p:cNvSpPr>
              <a:spLocks noChangeArrowheads="1"/>
            </p:cNvSpPr>
            <p:nvPr/>
          </p:nvSpPr>
          <p:spPr bwMode="auto">
            <a:xfrm>
              <a:off x="2089" y="2226"/>
              <a:ext cx="1123" cy="752"/>
            </a:xfrm>
            <a:prstGeom prst="homePlate">
              <a:avLst>
                <a:gd name="adj" fmla="val 13626"/>
              </a:avLst>
            </a:prstGeom>
            <a:solidFill>
              <a:schemeClr val="bg1"/>
            </a:solidFill>
            <a:ln w="12700" algn="ctr">
              <a:solidFill>
                <a:srgbClr val="000000"/>
              </a:solidFill>
              <a:prstDash val="sysDot"/>
              <a:miter lim="800000"/>
              <a:headEnd/>
              <a:tailEnd/>
            </a:ln>
          </p:spPr>
          <p:txBody>
            <a:bodyPr lIns="35201" tIns="35201" rIns="35201" bIns="35201" anchor="ctr"/>
            <a:lstStyle>
              <a:lvl1pPr defTabSz="639763">
                <a:defRPr sz="1200" b="1">
                  <a:solidFill>
                    <a:schemeClr val="tx1"/>
                  </a:solidFill>
                  <a:latin typeface="Arial" pitchFamily="34" charset="0"/>
                </a:defRPr>
              </a:lvl1pPr>
              <a:lvl2pPr marL="742950" indent="-285750"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gn="l">
                <a:lnSpc>
                  <a:spcPct val="110000"/>
                </a:lnSpc>
                <a:spcBef>
                  <a:spcPct val="0"/>
                </a:spcBef>
                <a:buClrTx/>
                <a:defRPr/>
              </a:pPr>
              <a:endParaRPr lang="cs-CZ" altLang="cs-CZ" b="0" dirty="0">
                <a:solidFill>
                  <a:srgbClr val="000000"/>
                </a:solidFill>
                <a:cs typeface="Arial" charset="0"/>
              </a:endParaRPr>
            </a:p>
          </p:txBody>
        </p:sp>
        <p:sp>
          <p:nvSpPr>
            <p:cNvPr id="11" name="Text Box 8">
              <a:extLst>
                <a:ext uri="{FF2B5EF4-FFF2-40B4-BE49-F238E27FC236}">
                  <a16:creationId xmlns:a16="http://schemas.microsoft.com/office/drawing/2014/main" id="{903C0903-D238-46C2-ACC2-F4E61F08268C}"/>
                </a:ext>
              </a:extLst>
            </p:cNvPr>
            <p:cNvSpPr txBox="1">
              <a:spLocks noChangeArrowheads="1"/>
            </p:cNvSpPr>
            <p:nvPr/>
          </p:nvSpPr>
          <p:spPr bwMode="auto">
            <a:xfrm>
              <a:off x="2094" y="2247"/>
              <a:ext cx="1047" cy="703"/>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lIns="89564" tIns="44782" rIns="89564" bIns="44782">
              <a:spAutoFit/>
            </a:bodyPr>
            <a:lstStyle>
              <a:lvl1pPr defTabSz="895350">
                <a:defRPr sz="1200" b="1">
                  <a:solidFill>
                    <a:schemeClr val="tx1"/>
                  </a:solidFill>
                  <a:latin typeface="Arial" pitchFamily="34" charset="0"/>
                </a:defRPr>
              </a:lvl1pPr>
              <a:lvl2pPr marL="742950" indent="-285750" defTabSz="895350">
                <a:defRPr sz="1200" b="1">
                  <a:solidFill>
                    <a:schemeClr val="tx1"/>
                  </a:solidFill>
                  <a:latin typeface="Arial" pitchFamily="34" charset="0"/>
                </a:defRPr>
              </a:lvl2pPr>
              <a:lvl3pPr marL="1143000" indent="-228600" defTabSz="895350">
                <a:defRPr sz="1200" b="1">
                  <a:solidFill>
                    <a:schemeClr val="tx1"/>
                  </a:solidFill>
                  <a:latin typeface="Arial" pitchFamily="34" charset="0"/>
                </a:defRPr>
              </a:lvl3pPr>
              <a:lvl4pPr marL="1600200" indent="-228600" defTabSz="895350">
                <a:defRPr sz="1200" b="1">
                  <a:solidFill>
                    <a:schemeClr val="tx1"/>
                  </a:solidFill>
                  <a:latin typeface="Arial" pitchFamily="34" charset="0"/>
                </a:defRPr>
              </a:lvl4pPr>
              <a:lvl5pPr marL="2057400" indent="-228600" defTabSz="895350">
                <a:defRPr sz="1200" b="1">
                  <a:solidFill>
                    <a:schemeClr val="tx1"/>
                  </a:solidFill>
                  <a:latin typeface="Arial" pitchFamily="34" charset="0"/>
                </a:defRPr>
              </a:lvl5pPr>
              <a:lvl6pPr marL="25146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gn="l" eaLnBrk="1" hangingPunct="1">
                <a:lnSpc>
                  <a:spcPct val="110000"/>
                </a:lnSpc>
                <a:spcBef>
                  <a:spcPct val="0"/>
                </a:spcBef>
                <a:buClrTx/>
                <a:defRPr/>
              </a:pPr>
              <a:r>
                <a:rPr lang="cs-CZ" altLang="cs-CZ" sz="1400" i="0" dirty="0">
                  <a:solidFill>
                    <a:srgbClr val="F24F00"/>
                  </a:solidFill>
                  <a:cs typeface="Arial" charset="0"/>
                </a:rPr>
                <a:t>Podíl</a:t>
              </a:r>
              <a:r>
                <a:rPr lang="cs-CZ" altLang="cs-CZ" sz="1400" i="0" dirty="0">
                  <a:solidFill>
                    <a:srgbClr val="000000"/>
                  </a:solidFill>
                  <a:cs typeface="Arial" charset="0"/>
                </a:rPr>
                <a:t> </a:t>
              </a:r>
              <a:r>
                <a:rPr lang="cs-CZ" altLang="cs-CZ" sz="1400" i="0" dirty="0">
                  <a:solidFill>
                    <a:srgbClr val="F24F00"/>
                  </a:solidFill>
                  <a:cs typeface="Arial" charset="0"/>
                </a:rPr>
                <a:t>OZE </a:t>
              </a:r>
              <a:r>
                <a:rPr lang="cs-CZ" altLang="cs-CZ" sz="1400" i="0" dirty="0">
                  <a:solidFill>
                    <a:srgbClr val="000000"/>
                  </a:solidFill>
                  <a:cs typeface="Arial" charset="0"/>
                </a:rPr>
                <a:t>na</a:t>
              </a:r>
              <a:r>
                <a:rPr lang="en-US" altLang="cs-CZ" sz="1400" i="0" dirty="0">
                  <a:solidFill>
                    <a:srgbClr val="000000"/>
                  </a:solidFill>
                  <a:cs typeface="Arial" charset="0"/>
                </a:rPr>
                <a:t> </a:t>
              </a:r>
              <a:r>
                <a:rPr lang="cs-CZ" altLang="cs-CZ" sz="1400" i="0" dirty="0">
                  <a:solidFill>
                    <a:srgbClr val="000000"/>
                  </a:solidFill>
                  <a:cs typeface="Arial" charset="0"/>
                </a:rPr>
                <a:t>celkové finální spotřebě energie</a:t>
              </a:r>
              <a:r>
                <a:rPr lang="cs-CZ" altLang="cs-CZ" i="0" dirty="0">
                  <a:solidFill>
                    <a:srgbClr val="000000"/>
                  </a:solidFill>
                  <a:cs typeface="Arial" charset="0"/>
                </a:rPr>
                <a:t>**</a:t>
              </a:r>
              <a:endParaRPr lang="en-US" altLang="cs-CZ" b="0" i="0" dirty="0">
                <a:solidFill>
                  <a:srgbClr val="000000"/>
                </a:solidFill>
                <a:cs typeface="Arial" charset="0"/>
              </a:endParaRPr>
            </a:p>
          </p:txBody>
        </p:sp>
        <p:sp>
          <p:nvSpPr>
            <p:cNvPr id="12" name="AutoShape 9">
              <a:extLst>
                <a:ext uri="{FF2B5EF4-FFF2-40B4-BE49-F238E27FC236}">
                  <a16:creationId xmlns:a16="http://schemas.microsoft.com/office/drawing/2014/main" id="{58E235C9-0269-41DA-8DB0-86DB246DDB04}"/>
                </a:ext>
              </a:extLst>
            </p:cNvPr>
            <p:cNvSpPr>
              <a:spLocks noChangeArrowheads="1"/>
            </p:cNvSpPr>
            <p:nvPr/>
          </p:nvSpPr>
          <p:spPr bwMode="auto">
            <a:xfrm>
              <a:off x="2089" y="3029"/>
              <a:ext cx="1133" cy="779"/>
            </a:xfrm>
            <a:prstGeom prst="homePlate">
              <a:avLst>
                <a:gd name="adj" fmla="val 14260"/>
              </a:avLst>
            </a:prstGeom>
            <a:solidFill>
              <a:schemeClr val="bg1"/>
            </a:solidFill>
            <a:ln w="12700" algn="ctr">
              <a:solidFill>
                <a:srgbClr val="000000"/>
              </a:solidFill>
              <a:prstDash val="sysDot"/>
              <a:miter lim="800000"/>
              <a:headEnd/>
              <a:tailEnd/>
            </a:ln>
          </p:spPr>
          <p:txBody>
            <a:bodyPr lIns="35201" tIns="35201" rIns="35201" bIns="35201" anchor="ctr"/>
            <a:lstStyle>
              <a:lvl1pPr defTabSz="639763">
                <a:defRPr sz="1200" b="1">
                  <a:solidFill>
                    <a:schemeClr val="tx1"/>
                  </a:solidFill>
                  <a:latin typeface="Arial" pitchFamily="34" charset="0"/>
                </a:defRPr>
              </a:lvl1pPr>
              <a:lvl2pPr marL="742950" indent="-285750"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nSpc>
                  <a:spcPct val="110000"/>
                </a:lnSpc>
                <a:spcBef>
                  <a:spcPct val="0"/>
                </a:spcBef>
                <a:buClrTx/>
                <a:defRPr/>
              </a:pPr>
              <a:endParaRPr lang="cs-CZ" altLang="cs-CZ" b="0" dirty="0">
                <a:solidFill>
                  <a:srgbClr val="000000"/>
                </a:solidFill>
                <a:cs typeface="Arial" charset="0"/>
              </a:endParaRPr>
            </a:p>
          </p:txBody>
        </p:sp>
        <p:sp>
          <p:nvSpPr>
            <p:cNvPr id="13" name="Text Box 10">
              <a:extLst>
                <a:ext uri="{FF2B5EF4-FFF2-40B4-BE49-F238E27FC236}">
                  <a16:creationId xmlns:a16="http://schemas.microsoft.com/office/drawing/2014/main" id="{AA6BCAE4-F656-4054-A922-759AA5CB7A10}"/>
                </a:ext>
              </a:extLst>
            </p:cNvPr>
            <p:cNvSpPr txBox="1">
              <a:spLocks noChangeArrowheads="1"/>
            </p:cNvSpPr>
            <p:nvPr/>
          </p:nvSpPr>
          <p:spPr bwMode="auto">
            <a:xfrm>
              <a:off x="2095" y="2954"/>
              <a:ext cx="1056" cy="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9564" tIns="141075" rIns="89564" bIns="44782">
              <a:spAutoFit/>
            </a:bodyPr>
            <a:lstStyle>
              <a:lvl1pPr defTabSz="895350">
                <a:defRPr sz="1200" b="1">
                  <a:solidFill>
                    <a:schemeClr val="tx1"/>
                  </a:solidFill>
                  <a:latin typeface="Arial" pitchFamily="34" charset="0"/>
                </a:defRPr>
              </a:lvl1pPr>
              <a:lvl2pPr marL="742950" indent="-285750" defTabSz="895350">
                <a:defRPr sz="1200" b="1">
                  <a:solidFill>
                    <a:schemeClr val="tx1"/>
                  </a:solidFill>
                  <a:latin typeface="Arial" pitchFamily="34" charset="0"/>
                </a:defRPr>
              </a:lvl2pPr>
              <a:lvl3pPr marL="1143000" indent="-228600" defTabSz="895350">
                <a:defRPr sz="1200" b="1">
                  <a:solidFill>
                    <a:schemeClr val="tx1"/>
                  </a:solidFill>
                  <a:latin typeface="Arial" pitchFamily="34" charset="0"/>
                </a:defRPr>
              </a:lvl3pPr>
              <a:lvl4pPr marL="1600200" indent="-228600" defTabSz="895350">
                <a:defRPr sz="1200" b="1">
                  <a:solidFill>
                    <a:schemeClr val="tx1"/>
                  </a:solidFill>
                  <a:latin typeface="Arial" pitchFamily="34" charset="0"/>
                </a:defRPr>
              </a:lvl4pPr>
              <a:lvl5pPr marL="2057400" indent="-228600" defTabSz="895350">
                <a:defRPr sz="1200" b="1">
                  <a:solidFill>
                    <a:schemeClr val="tx1"/>
                  </a:solidFill>
                  <a:latin typeface="Arial" pitchFamily="34" charset="0"/>
                </a:defRPr>
              </a:lvl5pPr>
              <a:lvl6pPr marL="25146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895350"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algn="l" eaLnBrk="1" hangingPunct="1">
                <a:lnSpc>
                  <a:spcPct val="110000"/>
                </a:lnSpc>
                <a:spcBef>
                  <a:spcPct val="0"/>
                </a:spcBef>
                <a:buClrTx/>
                <a:defRPr/>
              </a:pPr>
              <a:r>
                <a:rPr lang="cs-CZ" altLang="cs-CZ" sz="1400" i="0" dirty="0">
                  <a:solidFill>
                    <a:srgbClr val="F24F00"/>
                  </a:solidFill>
                  <a:cs typeface="Arial" charset="0"/>
                </a:rPr>
                <a:t>Energetické úspory (EED)</a:t>
              </a:r>
              <a:r>
                <a:rPr lang="cs-CZ" altLang="cs-CZ" i="0" dirty="0">
                  <a:solidFill>
                    <a:srgbClr val="F24F00"/>
                  </a:solidFill>
                  <a:cs typeface="Arial" charset="0"/>
                </a:rPr>
                <a:t>***  </a:t>
              </a:r>
              <a:r>
                <a:rPr lang="cs-CZ" altLang="cs-CZ" i="0" dirty="0">
                  <a:solidFill>
                    <a:srgbClr val="000000"/>
                  </a:solidFill>
                  <a:cs typeface="Arial" charset="0"/>
                </a:rPr>
                <a:t>oproti stavu podle predikcí z</a:t>
              </a:r>
              <a:r>
                <a:rPr lang="en-US" altLang="cs-CZ" i="0" dirty="0">
                  <a:solidFill>
                    <a:srgbClr val="000000"/>
                  </a:solidFill>
                  <a:cs typeface="Arial" charset="0"/>
                </a:rPr>
                <a:t> </a:t>
              </a:r>
              <a:r>
                <a:rPr lang="cs-CZ" altLang="cs-CZ" i="0" dirty="0">
                  <a:solidFill>
                    <a:srgbClr val="000000"/>
                  </a:solidFill>
                  <a:cs typeface="Arial" charset="0"/>
                </a:rPr>
                <a:t>roku 2007</a:t>
              </a:r>
              <a:endParaRPr lang="en-US" altLang="cs-CZ" b="0" i="0" dirty="0">
                <a:solidFill>
                  <a:srgbClr val="000000"/>
                </a:solidFill>
                <a:cs typeface="Arial" charset="0"/>
              </a:endParaRPr>
            </a:p>
          </p:txBody>
        </p:sp>
      </p:grpSp>
      <p:sp>
        <p:nvSpPr>
          <p:cNvPr id="14" name="Zaoblený obdélník 18">
            <a:extLst>
              <a:ext uri="{FF2B5EF4-FFF2-40B4-BE49-F238E27FC236}">
                <a16:creationId xmlns:a16="http://schemas.microsoft.com/office/drawing/2014/main" id="{27754EA6-41A3-4C07-893A-55CB0AB4233D}"/>
              </a:ext>
            </a:extLst>
          </p:cNvPr>
          <p:cNvSpPr/>
          <p:nvPr/>
        </p:nvSpPr>
        <p:spPr bwMode="auto">
          <a:xfrm>
            <a:off x="4391528" y="1934608"/>
            <a:ext cx="2160000" cy="324000"/>
          </a:xfrm>
          <a:prstGeom prst="roundRect">
            <a:avLst/>
          </a:prstGeom>
          <a:solidFill>
            <a:schemeClr val="bg1">
              <a:lumMod val="75000"/>
            </a:schemeClr>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defRPr/>
            </a:pPr>
            <a:r>
              <a:rPr lang="cs-CZ" sz="1400" b="1" i="0" dirty="0">
                <a:solidFill>
                  <a:srgbClr val="000000"/>
                </a:solidFill>
                <a:cs typeface="Arial" charset="0"/>
              </a:rPr>
              <a:t>2030 (návrh EK)</a:t>
            </a:r>
          </a:p>
        </p:txBody>
      </p:sp>
      <p:sp>
        <p:nvSpPr>
          <p:cNvPr id="15" name="Text Box 3">
            <a:extLst>
              <a:ext uri="{FF2B5EF4-FFF2-40B4-BE49-F238E27FC236}">
                <a16:creationId xmlns:a16="http://schemas.microsoft.com/office/drawing/2014/main" id="{596B971A-4A1E-42C9-A336-1DABF1759263}"/>
              </a:ext>
            </a:extLst>
          </p:cNvPr>
          <p:cNvSpPr txBox="1">
            <a:spLocks noChangeArrowheads="1"/>
          </p:cNvSpPr>
          <p:nvPr/>
        </p:nvSpPr>
        <p:spPr bwMode="auto">
          <a:xfrm>
            <a:off x="4391528" y="2312042"/>
            <a:ext cx="2160000" cy="1049190"/>
          </a:xfrm>
          <a:prstGeom prst="rect">
            <a:avLst/>
          </a:prstGeom>
          <a:solidFill>
            <a:schemeClr val="bg1">
              <a:lumMod val="7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55 %</a:t>
            </a:r>
          </a:p>
          <a:p>
            <a:pPr marL="173038" lvl="1" indent="-171450" algn="l" eaLnBrk="1" fontAlgn="auto" hangingPunct="1">
              <a:spcBef>
                <a:spcPts val="300"/>
              </a:spcBef>
              <a:spcAft>
                <a:spcPts val="0"/>
              </a:spcAft>
              <a:buClr>
                <a:srgbClr val="F24F00"/>
              </a:buClr>
              <a:buSzPct val="120000"/>
              <a:buFont typeface="Wingdings" panose="05000000000000000000" pitchFamily="2" charset="2"/>
              <a:buChar char="§"/>
              <a:defRPr/>
            </a:pPr>
            <a:r>
              <a:rPr lang="cs-CZ" altLang="cs-CZ" b="0" i="0" dirty="0">
                <a:solidFill>
                  <a:srgbClr val="000000"/>
                </a:solidFill>
                <a:latin typeface="Arial" charset="0"/>
                <a:cs typeface="Arial" charset="0"/>
              </a:rPr>
              <a:t>Europarlament požaduje 60 % </a:t>
            </a:r>
          </a:p>
        </p:txBody>
      </p:sp>
      <p:sp>
        <p:nvSpPr>
          <p:cNvPr id="16" name="Text Box 3">
            <a:extLst>
              <a:ext uri="{FF2B5EF4-FFF2-40B4-BE49-F238E27FC236}">
                <a16:creationId xmlns:a16="http://schemas.microsoft.com/office/drawing/2014/main" id="{964CC89B-7D72-47A0-8FAB-0A7DDAAC5303}"/>
              </a:ext>
            </a:extLst>
          </p:cNvPr>
          <p:cNvSpPr txBox="1">
            <a:spLocks noChangeArrowheads="1"/>
          </p:cNvSpPr>
          <p:nvPr/>
        </p:nvSpPr>
        <p:spPr bwMode="auto">
          <a:xfrm>
            <a:off x="4391528" y="3454291"/>
            <a:ext cx="2160000" cy="1090446"/>
          </a:xfrm>
          <a:prstGeom prst="rect">
            <a:avLst/>
          </a:prstGeom>
          <a:solidFill>
            <a:schemeClr val="bg1">
              <a:lumMod val="7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38-39 %</a:t>
            </a:r>
            <a:r>
              <a:rPr lang="cs-CZ" altLang="cs-CZ" sz="1800" i="0" dirty="0">
                <a:solidFill>
                  <a:srgbClr val="000000"/>
                </a:solidFill>
                <a:latin typeface="Arial" charset="0"/>
                <a:cs typeface="Arial" charset="0"/>
              </a:rPr>
              <a:t> </a:t>
            </a:r>
          </a:p>
          <a:p>
            <a:pPr marL="173038" lvl="1" indent="-171450" algn="l">
              <a:spcBef>
                <a:spcPts val="300"/>
              </a:spcBef>
              <a:buClr>
                <a:srgbClr val="F24F00"/>
              </a:buClr>
              <a:buSzPct val="120000"/>
              <a:buFont typeface="Wingdings" panose="05000000000000000000" pitchFamily="2" charset="2"/>
              <a:buChar char="§"/>
              <a:defRPr/>
            </a:pPr>
            <a:r>
              <a:rPr lang="cs-CZ" altLang="cs-CZ" b="0" i="0" dirty="0">
                <a:solidFill>
                  <a:srgbClr val="000000"/>
                </a:solidFill>
                <a:latin typeface="Arial" charset="0"/>
                <a:cs typeface="Arial" charset="0"/>
              </a:rPr>
              <a:t>Dle scénářů 55% dekarbonizace</a:t>
            </a:r>
          </a:p>
          <a:p>
            <a:pPr marL="173038" lvl="1" indent="-171450" algn="l">
              <a:spcBef>
                <a:spcPts val="300"/>
              </a:spcBef>
              <a:buClr>
                <a:srgbClr val="F24F00"/>
              </a:buClr>
              <a:buSzPct val="120000"/>
              <a:buFont typeface="Wingdings" panose="05000000000000000000" pitchFamily="2" charset="2"/>
              <a:buChar char="§"/>
              <a:defRPr/>
            </a:pPr>
            <a:r>
              <a:rPr lang="cs-CZ" altLang="cs-CZ" i="0" dirty="0">
                <a:solidFill>
                  <a:srgbClr val="000000"/>
                </a:solidFill>
                <a:latin typeface="Arial" charset="0"/>
                <a:cs typeface="Arial" charset="0"/>
              </a:rPr>
              <a:t>63-65 %</a:t>
            </a:r>
            <a:r>
              <a:rPr lang="cs-CZ" altLang="cs-CZ" b="0" i="0" dirty="0">
                <a:solidFill>
                  <a:srgbClr val="000000"/>
                </a:solidFill>
                <a:latin typeface="Arial" charset="0"/>
                <a:cs typeface="Arial" charset="0"/>
              </a:rPr>
              <a:t> podíl OZE </a:t>
            </a:r>
            <a:r>
              <a:rPr lang="cs-CZ" altLang="cs-CZ" i="0" dirty="0">
                <a:solidFill>
                  <a:srgbClr val="000000"/>
                </a:solidFill>
                <a:latin typeface="Arial" charset="0"/>
                <a:cs typeface="Arial" charset="0"/>
              </a:rPr>
              <a:t>v elektřině </a:t>
            </a:r>
            <a:endParaRPr lang="cs-CZ" altLang="cs-CZ" i="0" dirty="0">
              <a:solidFill>
                <a:srgbClr val="F24F00"/>
              </a:solidFill>
              <a:cs typeface="Arial" charset="0"/>
            </a:endParaRPr>
          </a:p>
        </p:txBody>
      </p:sp>
      <p:sp>
        <p:nvSpPr>
          <p:cNvPr id="17" name="Text Box 3">
            <a:extLst>
              <a:ext uri="{FF2B5EF4-FFF2-40B4-BE49-F238E27FC236}">
                <a16:creationId xmlns:a16="http://schemas.microsoft.com/office/drawing/2014/main" id="{4A5E66C3-11D3-4308-996F-A0D80E8F6AD3}"/>
              </a:ext>
            </a:extLst>
          </p:cNvPr>
          <p:cNvSpPr txBox="1">
            <a:spLocks noChangeArrowheads="1"/>
          </p:cNvSpPr>
          <p:nvPr/>
        </p:nvSpPr>
        <p:spPr bwMode="auto">
          <a:xfrm>
            <a:off x="4391528" y="4657468"/>
            <a:ext cx="2160000" cy="1118916"/>
          </a:xfrm>
          <a:prstGeom prst="rect">
            <a:avLst/>
          </a:prstGeom>
          <a:solidFill>
            <a:schemeClr val="bg1">
              <a:lumMod val="7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 </a:t>
            </a:r>
            <a:r>
              <a:rPr lang="en-GB" altLang="cs-CZ" sz="1600" i="0" dirty="0">
                <a:solidFill>
                  <a:srgbClr val="F24F00"/>
                </a:solidFill>
                <a:cs typeface="Arial" charset="0"/>
              </a:rPr>
              <a:t>3</a:t>
            </a:r>
            <a:r>
              <a:rPr lang="cs-CZ" altLang="cs-CZ" sz="1600" i="0" dirty="0">
                <a:solidFill>
                  <a:srgbClr val="F24F00"/>
                </a:solidFill>
                <a:cs typeface="Arial" charset="0"/>
              </a:rPr>
              <a:t>9-40 %</a:t>
            </a:r>
          </a:p>
          <a:p>
            <a:pPr marL="173038" lvl="1" indent="-171450" algn="l" eaLnBrk="1" fontAlgn="auto" hangingPunct="1">
              <a:spcBef>
                <a:spcPts val="300"/>
              </a:spcBef>
              <a:spcAft>
                <a:spcPts val="0"/>
              </a:spcAft>
              <a:buClr>
                <a:srgbClr val="F24F00"/>
              </a:buClr>
              <a:buSzPct val="120000"/>
              <a:buFont typeface="Wingdings" panose="05000000000000000000" pitchFamily="2" charset="2"/>
              <a:buChar char="§"/>
              <a:defRPr/>
            </a:pPr>
            <a:r>
              <a:rPr lang="cs-CZ" altLang="cs-CZ" b="0" i="0" dirty="0">
                <a:solidFill>
                  <a:srgbClr val="000000"/>
                </a:solidFill>
                <a:latin typeface="Arial" charset="0"/>
                <a:cs typeface="Arial" charset="0"/>
              </a:rPr>
              <a:t>Úspora primární energie </a:t>
            </a:r>
          </a:p>
          <a:p>
            <a:pPr marL="173038" lvl="1" indent="-171450" algn="l">
              <a:spcBef>
                <a:spcPts val="300"/>
              </a:spcBef>
              <a:buClr>
                <a:srgbClr val="F24F00"/>
              </a:buClr>
              <a:buSzPct val="120000"/>
              <a:buFont typeface="Wingdings" panose="05000000000000000000" pitchFamily="2" charset="2"/>
              <a:buChar char="§"/>
              <a:defRPr/>
            </a:pPr>
            <a:r>
              <a:rPr lang="cs-CZ" altLang="cs-CZ" b="0" i="0" dirty="0">
                <a:solidFill>
                  <a:srgbClr val="000000"/>
                </a:solidFill>
                <a:latin typeface="Arial" charset="0"/>
                <a:cs typeface="Arial" charset="0"/>
              </a:rPr>
              <a:t>36-37 % na konečné spotřebě energie</a:t>
            </a:r>
            <a:r>
              <a:rPr lang="cs-CZ" altLang="cs-CZ" i="0" dirty="0">
                <a:solidFill>
                  <a:srgbClr val="000000"/>
                </a:solidFill>
                <a:latin typeface="Arial" charset="0"/>
                <a:cs typeface="Arial" charset="0"/>
              </a:rPr>
              <a:t> </a:t>
            </a:r>
            <a:endParaRPr lang="cs-CZ" altLang="cs-CZ" i="0" dirty="0">
              <a:solidFill>
                <a:srgbClr val="F24F00"/>
              </a:solidFill>
              <a:cs typeface="Arial" charset="0"/>
            </a:endParaRPr>
          </a:p>
        </p:txBody>
      </p:sp>
      <p:sp>
        <p:nvSpPr>
          <p:cNvPr id="18" name="Zaoblený obdélník 18">
            <a:extLst>
              <a:ext uri="{FF2B5EF4-FFF2-40B4-BE49-F238E27FC236}">
                <a16:creationId xmlns:a16="http://schemas.microsoft.com/office/drawing/2014/main" id="{80C85ABC-730D-452A-BD6E-B3EE0770AD41}"/>
              </a:ext>
            </a:extLst>
          </p:cNvPr>
          <p:cNvSpPr/>
          <p:nvPr/>
        </p:nvSpPr>
        <p:spPr bwMode="auto">
          <a:xfrm>
            <a:off x="2159281" y="1945838"/>
            <a:ext cx="2159999" cy="324000"/>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defRPr/>
            </a:pPr>
            <a:r>
              <a:rPr lang="cs-CZ" sz="1400" b="1" i="0" dirty="0">
                <a:solidFill>
                  <a:srgbClr val="000000"/>
                </a:solidFill>
                <a:cs typeface="Arial" charset="0"/>
              </a:rPr>
              <a:t>2030 (aktuálně platné)*</a:t>
            </a:r>
          </a:p>
        </p:txBody>
      </p:sp>
      <p:sp>
        <p:nvSpPr>
          <p:cNvPr id="19" name="Text Box 3">
            <a:extLst>
              <a:ext uri="{FF2B5EF4-FFF2-40B4-BE49-F238E27FC236}">
                <a16:creationId xmlns:a16="http://schemas.microsoft.com/office/drawing/2014/main" id="{4874D3D0-7389-4189-9C62-5293EDE83667}"/>
              </a:ext>
            </a:extLst>
          </p:cNvPr>
          <p:cNvSpPr txBox="1">
            <a:spLocks noChangeArrowheads="1"/>
          </p:cNvSpPr>
          <p:nvPr/>
        </p:nvSpPr>
        <p:spPr bwMode="auto">
          <a:xfrm>
            <a:off x="2159280" y="2323272"/>
            <a:ext cx="2160000" cy="1049190"/>
          </a:xfrm>
          <a:prstGeom prst="rect">
            <a:avLst/>
          </a:prstGeom>
          <a:solidFill>
            <a:schemeClr val="bg1">
              <a:lumMod val="8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min. 40 %</a:t>
            </a:r>
          </a:p>
          <a:p>
            <a:pPr marL="173038" lvl="1" indent="-171450" algn="l">
              <a:spcBef>
                <a:spcPts val="300"/>
              </a:spcBef>
              <a:buClr>
                <a:srgbClr val="F24F00"/>
              </a:buClr>
              <a:buSzPct val="120000"/>
              <a:buFont typeface="Wingdings" pitchFamily="2" charset="2"/>
              <a:buChar char="§"/>
              <a:defRPr/>
            </a:pPr>
            <a:r>
              <a:rPr lang="cs-CZ" altLang="cs-CZ" i="0" dirty="0">
                <a:solidFill>
                  <a:srgbClr val="000000"/>
                </a:solidFill>
                <a:cs typeface="Arial" charset="0"/>
              </a:rPr>
              <a:t>závazný</a:t>
            </a:r>
            <a:r>
              <a:rPr lang="cs-CZ" altLang="cs-CZ" b="0" i="0" dirty="0">
                <a:solidFill>
                  <a:srgbClr val="000000"/>
                </a:solidFill>
                <a:cs typeface="Arial" charset="0"/>
              </a:rPr>
              <a:t> cíl na úrovni EU</a:t>
            </a:r>
          </a:p>
          <a:p>
            <a:pPr marL="173038" lvl="1" indent="-171450" algn="l">
              <a:spcBef>
                <a:spcPts val="300"/>
              </a:spcBef>
              <a:buClr>
                <a:srgbClr val="F24F00"/>
              </a:buClr>
              <a:buSzPct val="120000"/>
              <a:buFont typeface="Wingdings" pitchFamily="2" charset="2"/>
              <a:buChar char="§"/>
              <a:defRPr/>
            </a:pPr>
            <a:r>
              <a:rPr lang="cs-CZ" altLang="cs-CZ" b="0" i="0" dirty="0">
                <a:solidFill>
                  <a:srgbClr val="000000"/>
                </a:solidFill>
                <a:cs typeface="Arial" charset="0"/>
              </a:rPr>
              <a:t>může být splněn jako vedlejší efekt při plnění dalších dvou cílů</a:t>
            </a:r>
          </a:p>
        </p:txBody>
      </p:sp>
      <p:sp>
        <p:nvSpPr>
          <p:cNvPr id="20" name="Text Box 3">
            <a:extLst>
              <a:ext uri="{FF2B5EF4-FFF2-40B4-BE49-F238E27FC236}">
                <a16:creationId xmlns:a16="http://schemas.microsoft.com/office/drawing/2014/main" id="{A3CD6A9B-19DA-486B-B6AB-55C5A9737048}"/>
              </a:ext>
            </a:extLst>
          </p:cNvPr>
          <p:cNvSpPr txBox="1">
            <a:spLocks noChangeArrowheads="1"/>
          </p:cNvSpPr>
          <p:nvPr/>
        </p:nvSpPr>
        <p:spPr bwMode="auto">
          <a:xfrm>
            <a:off x="2159281" y="3465521"/>
            <a:ext cx="2160239" cy="1090446"/>
          </a:xfrm>
          <a:prstGeom prst="rect">
            <a:avLst/>
          </a:prstGeom>
          <a:solidFill>
            <a:schemeClr val="bg1">
              <a:lumMod val="8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min 32 %</a:t>
            </a:r>
          </a:p>
          <a:p>
            <a:pPr marL="173038" lvl="1" indent="-171450" algn="l">
              <a:spcBef>
                <a:spcPts val="300"/>
              </a:spcBef>
              <a:buClr>
                <a:srgbClr val="F24F00"/>
              </a:buClr>
              <a:buSzPct val="120000"/>
              <a:buFont typeface="Wingdings" pitchFamily="2" charset="2"/>
              <a:buChar char="§"/>
              <a:defRPr/>
            </a:pPr>
            <a:r>
              <a:rPr lang="cs-CZ" altLang="cs-CZ" i="0" dirty="0">
                <a:solidFill>
                  <a:srgbClr val="000000"/>
                </a:solidFill>
                <a:latin typeface="Arial" charset="0"/>
                <a:cs typeface="Arial" charset="0"/>
              </a:rPr>
              <a:t>závazný cíl na EU </a:t>
            </a:r>
            <a:r>
              <a:rPr lang="cs-CZ" altLang="cs-CZ" b="0" i="0" dirty="0">
                <a:solidFill>
                  <a:srgbClr val="000000"/>
                </a:solidFill>
                <a:latin typeface="Arial" charset="0"/>
                <a:cs typeface="Arial" charset="0"/>
              </a:rPr>
              <a:t>úrovni</a:t>
            </a:r>
          </a:p>
          <a:p>
            <a:pPr marL="173038" lvl="1" indent="-171450" algn="l">
              <a:spcBef>
                <a:spcPts val="300"/>
              </a:spcBef>
              <a:buClr>
                <a:srgbClr val="F24F00"/>
              </a:buClr>
              <a:buSzPct val="120000"/>
              <a:buFont typeface="Wingdings" pitchFamily="2" charset="2"/>
              <a:buChar char="§"/>
              <a:defRPr/>
            </a:pPr>
            <a:r>
              <a:rPr lang="cs-CZ" altLang="cs-CZ" b="0" i="0" dirty="0">
                <a:solidFill>
                  <a:srgbClr val="000000"/>
                </a:solidFill>
                <a:latin typeface="Arial" charset="0"/>
                <a:cs typeface="Arial" charset="0"/>
              </a:rPr>
              <a:t>elektřina z OZE by v EU měla narůst na 55 % (z 34 % ve 2020)</a:t>
            </a:r>
            <a:endParaRPr lang="cs-CZ" altLang="cs-CZ" i="0" dirty="0">
              <a:solidFill>
                <a:srgbClr val="000000"/>
              </a:solidFill>
              <a:latin typeface="Arial" charset="0"/>
              <a:cs typeface="Arial" charset="0"/>
            </a:endParaRPr>
          </a:p>
        </p:txBody>
      </p:sp>
      <p:sp>
        <p:nvSpPr>
          <p:cNvPr id="21" name="Text Box 3">
            <a:extLst>
              <a:ext uri="{FF2B5EF4-FFF2-40B4-BE49-F238E27FC236}">
                <a16:creationId xmlns:a16="http://schemas.microsoft.com/office/drawing/2014/main" id="{5BE3E259-D862-44A7-B81E-071A4E0254B4}"/>
              </a:ext>
            </a:extLst>
          </p:cNvPr>
          <p:cNvSpPr txBox="1">
            <a:spLocks noChangeArrowheads="1"/>
          </p:cNvSpPr>
          <p:nvPr/>
        </p:nvSpPr>
        <p:spPr bwMode="auto">
          <a:xfrm>
            <a:off x="2159281" y="4657468"/>
            <a:ext cx="2160239" cy="1118916"/>
          </a:xfrm>
          <a:prstGeom prst="rect">
            <a:avLst/>
          </a:prstGeom>
          <a:solidFill>
            <a:schemeClr val="bg1">
              <a:lumMod val="85000"/>
            </a:schemeClr>
          </a:solidFill>
          <a:ln>
            <a:noFill/>
          </a:ln>
        </p:spPr>
        <p:txBody>
          <a:bodyPr lIns="35201" tIns="35201" rIns="35201" bIns="35201" anchor="ctr" anchorCtr="0"/>
          <a:lstStyle>
            <a:lvl1pPr defTabSz="639763">
              <a:defRPr sz="1200" b="1">
                <a:solidFill>
                  <a:schemeClr val="tx1"/>
                </a:solidFill>
                <a:latin typeface="Arial" pitchFamily="34" charset="0"/>
              </a:defRPr>
            </a:lvl1pPr>
            <a:lvl2pPr marL="125413" indent="-123825" defTabSz="639763">
              <a:defRPr sz="1200" b="1">
                <a:solidFill>
                  <a:schemeClr val="tx1"/>
                </a:solidFill>
                <a:latin typeface="Arial" pitchFamily="34" charset="0"/>
              </a:defRPr>
            </a:lvl2pPr>
            <a:lvl3pPr marL="1143000" indent="-228600" defTabSz="639763">
              <a:defRPr sz="1200" b="1">
                <a:solidFill>
                  <a:schemeClr val="tx1"/>
                </a:solidFill>
                <a:latin typeface="Arial" pitchFamily="34" charset="0"/>
              </a:defRPr>
            </a:lvl3pPr>
            <a:lvl4pPr marL="1600200" indent="-228600" defTabSz="639763">
              <a:defRPr sz="1200" b="1">
                <a:solidFill>
                  <a:schemeClr val="tx1"/>
                </a:solidFill>
                <a:latin typeface="Arial" pitchFamily="34" charset="0"/>
              </a:defRPr>
            </a:lvl4pPr>
            <a:lvl5pPr marL="2057400" indent="-228600" defTabSz="639763">
              <a:defRPr sz="1200" b="1">
                <a:solidFill>
                  <a:schemeClr val="tx1"/>
                </a:solidFill>
                <a:latin typeface="Arial" pitchFamily="34" charset="0"/>
              </a:defRPr>
            </a:lvl5pPr>
            <a:lvl6pPr marL="25146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6pPr>
            <a:lvl7pPr marL="29718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7pPr>
            <a:lvl8pPr marL="34290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8pPr>
            <a:lvl9pPr marL="3886200" indent="-228600" defTabSz="639763" eaLnBrk="0" fontAlgn="base" hangingPunct="0">
              <a:spcBef>
                <a:spcPct val="50000"/>
              </a:spcBef>
              <a:spcAft>
                <a:spcPct val="0"/>
              </a:spcAft>
              <a:buClr>
                <a:schemeClr val="accent2"/>
              </a:buClr>
              <a:buFont typeface="Wingdings" pitchFamily="2" charset="2"/>
              <a:defRPr sz="1200" b="1">
                <a:solidFill>
                  <a:schemeClr val="tx1"/>
                </a:solidFill>
                <a:latin typeface="Arial" pitchFamily="34" charset="0"/>
              </a:defRPr>
            </a:lvl9pPr>
          </a:lstStyle>
          <a:p>
            <a:pPr marL="1588" lvl="1" indent="0">
              <a:spcBef>
                <a:spcPts val="300"/>
              </a:spcBef>
              <a:buClr>
                <a:srgbClr val="F24F00"/>
              </a:buClr>
              <a:buSzPct val="120000"/>
              <a:defRPr/>
            </a:pPr>
            <a:r>
              <a:rPr lang="cs-CZ" altLang="cs-CZ" sz="1600" i="0" dirty="0">
                <a:solidFill>
                  <a:srgbClr val="F24F00"/>
                </a:solidFill>
                <a:cs typeface="Arial" charset="0"/>
              </a:rPr>
              <a:t> min </a:t>
            </a:r>
            <a:r>
              <a:rPr lang="en-GB" altLang="cs-CZ" sz="1600" i="0" dirty="0">
                <a:solidFill>
                  <a:srgbClr val="F24F00"/>
                </a:solidFill>
                <a:cs typeface="Arial" charset="0"/>
              </a:rPr>
              <a:t>32</a:t>
            </a:r>
            <a:r>
              <a:rPr lang="cs-CZ" altLang="cs-CZ" sz="1600" i="0" dirty="0">
                <a:solidFill>
                  <a:srgbClr val="F24F00"/>
                </a:solidFill>
                <a:cs typeface="Arial" charset="0"/>
              </a:rPr>
              <a:t>,5 %</a:t>
            </a:r>
          </a:p>
          <a:p>
            <a:pPr lvl="1" algn="l">
              <a:spcBef>
                <a:spcPts val="300"/>
              </a:spcBef>
              <a:buClr>
                <a:srgbClr val="F24F00"/>
              </a:buClr>
              <a:buSzPct val="120000"/>
              <a:buFont typeface="Wingdings" pitchFamily="2" charset="2"/>
              <a:buChar char="§"/>
              <a:defRPr/>
            </a:pPr>
            <a:r>
              <a:rPr lang="cs-CZ" altLang="cs-CZ" i="0" dirty="0">
                <a:solidFill>
                  <a:srgbClr val="000000"/>
                </a:solidFill>
                <a:latin typeface="Arial" charset="0"/>
                <a:cs typeface="Arial" charset="0"/>
              </a:rPr>
              <a:t>indikativní cíl na EU úrovni</a:t>
            </a:r>
          </a:p>
          <a:p>
            <a:pPr lvl="1" algn="l">
              <a:spcBef>
                <a:spcPts val="300"/>
              </a:spcBef>
              <a:buClr>
                <a:srgbClr val="F24F00"/>
              </a:buClr>
              <a:buSzPct val="120000"/>
              <a:buFont typeface="Wingdings" pitchFamily="2" charset="2"/>
              <a:buChar char="§"/>
              <a:defRPr/>
            </a:pPr>
            <a:r>
              <a:rPr lang="cs-CZ" altLang="cs-CZ" i="0" dirty="0">
                <a:solidFill>
                  <a:srgbClr val="000000"/>
                </a:solidFill>
                <a:latin typeface="Arial" charset="0"/>
                <a:cs typeface="Arial" charset="0"/>
              </a:rPr>
              <a:t>závazné roční úspory 0,8 % </a:t>
            </a:r>
            <a:r>
              <a:rPr lang="cs-CZ" altLang="cs-CZ" b="0" i="0" dirty="0">
                <a:solidFill>
                  <a:srgbClr val="000000"/>
                </a:solidFill>
                <a:latin typeface="Arial" charset="0"/>
                <a:cs typeface="Arial" charset="0"/>
              </a:rPr>
              <a:t>konečné energie </a:t>
            </a:r>
            <a:r>
              <a:rPr lang="cs-CZ" altLang="cs-CZ" i="0" dirty="0">
                <a:solidFill>
                  <a:srgbClr val="000000"/>
                </a:solidFill>
                <a:latin typeface="Arial" charset="0"/>
                <a:cs typeface="Arial" charset="0"/>
              </a:rPr>
              <a:t>na národní úrovni </a:t>
            </a:r>
          </a:p>
        </p:txBody>
      </p:sp>
      <p:sp>
        <p:nvSpPr>
          <p:cNvPr id="23" name="TextovéPole 125">
            <a:extLst>
              <a:ext uri="{FF2B5EF4-FFF2-40B4-BE49-F238E27FC236}">
                <a16:creationId xmlns:a16="http://schemas.microsoft.com/office/drawing/2014/main" id="{4BC96202-F1B4-4459-ACC2-6F47B4C7DF47}"/>
              </a:ext>
            </a:extLst>
          </p:cNvPr>
          <p:cNvSpPr txBox="1">
            <a:spLocks noChangeArrowheads="1"/>
          </p:cNvSpPr>
          <p:nvPr/>
        </p:nvSpPr>
        <p:spPr bwMode="auto">
          <a:xfrm>
            <a:off x="659506" y="5770113"/>
            <a:ext cx="738036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lvl="1" algn="l" eaLnBrk="1" fontAlgn="auto" hangingPunct="1">
              <a:spcBef>
                <a:spcPts val="0"/>
              </a:spcBef>
              <a:spcAft>
                <a:spcPts val="0"/>
              </a:spcAft>
              <a:buClr>
                <a:srgbClr val="B2B2B2"/>
              </a:buClr>
              <a:defRPr/>
            </a:pPr>
            <a:r>
              <a:rPr lang="cs-CZ" sz="800" i="0" dirty="0">
                <a:solidFill>
                  <a:srgbClr val="FFFFFF"/>
                </a:solidFill>
                <a:cs typeface="Arial" panose="020B0604020202020204" pitchFamily="34" charset="0"/>
              </a:rPr>
              <a:t>*Cíle pro rok 2030 prochází revizí na základě strategie Green Deal; </a:t>
            </a:r>
            <a:r>
              <a:rPr lang="cs-CZ" altLang="cs-CZ" sz="800" i="0" dirty="0">
                <a:solidFill>
                  <a:srgbClr val="FFFFFF"/>
                </a:solidFill>
                <a:cs typeface="Arial" panose="020B0604020202020204" pitchFamily="34" charset="0"/>
              </a:rPr>
              <a:t>**OZE: platí pro veškerou energii, nejen elektrickou; ***EED – Energy Efficiency Directive; </a:t>
            </a:r>
          </a:p>
        </p:txBody>
      </p:sp>
      <p:sp>
        <p:nvSpPr>
          <p:cNvPr id="24" name="Rectangle 4">
            <a:extLst>
              <a:ext uri="{FF2B5EF4-FFF2-40B4-BE49-F238E27FC236}">
                <a16:creationId xmlns:a16="http://schemas.microsoft.com/office/drawing/2014/main" id="{3E9F202C-E650-4B75-A978-5F56DA717466}"/>
              </a:ext>
            </a:extLst>
          </p:cNvPr>
          <p:cNvSpPr>
            <a:spLocks noChangeArrowheads="1"/>
          </p:cNvSpPr>
          <p:nvPr/>
        </p:nvSpPr>
        <p:spPr bwMode="auto">
          <a:xfrm>
            <a:off x="6623538" y="1973315"/>
            <a:ext cx="2289053" cy="3904521"/>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EU si jako cíl stanovila  dosáhnout k</a:t>
            </a:r>
            <a:r>
              <a:rPr lang="cs-CZ" sz="1300" i="0" dirty="0" err="1">
                <a:solidFill>
                  <a:srgbClr val="000000"/>
                </a:solidFill>
                <a:latin typeface="Arial" charset="0"/>
                <a:cs typeface="Arial" charset="0"/>
              </a:rPr>
              <a:t>limaneutralitu</a:t>
            </a:r>
            <a:r>
              <a:rPr lang="cs-CZ" sz="1300" i="0" dirty="0">
                <a:solidFill>
                  <a:srgbClr val="000000"/>
                </a:solidFill>
                <a:latin typeface="Arial" charset="0"/>
                <a:cs typeface="Arial" charset="0"/>
              </a:rPr>
              <a:t> v roce 2050, tento cíl podpořila i ČR</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Konkrétní jízdní řád v podobě strategie Green Deal se již začal realizovat. Mnoho legislativních opatření je naplánováno i na příští rok</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Návrh konkrétních změn EU ETS, OZE a EED bude publikován v červnu 2021</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sym typeface="Symbol"/>
              </a:rPr>
              <a:t>Vedle toho standardně proběhne revize BAT/BREF, publikovány budou 2025 a mají být splněny od 2029</a:t>
            </a:r>
          </a:p>
        </p:txBody>
      </p:sp>
    </p:spTree>
    <p:extLst>
      <p:ext uri="{BB962C8B-B14F-4D97-AF65-F5344CB8AC3E}">
        <p14:creationId xmlns:p14="http://schemas.microsoft.com/office/powerpoint/2010/main" val="9597205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2F22F72-7BD4-4722-9CB4-8FBE3FA67708}"/>
              </a:ext>
            </a:extLst>
          </p:cNvPr>
          <p:cNvSpPr>
            <a:spLocks noGrp="1"/>
          </p:cNvSpPr>
          <p:nvPr>
            <p:ph type="title"/>
          </p:nvPr>
        </p:nvSpPr>
        <p:spPr>
          <a:xfrm>
            <a:off x="504001" y="491222"/>
            <a:ext cx="7343043" cy="1237775"/>
          </a:xfrm>
        </p:spPr>
        <p:txBody>
          <a:bodyPr/>
          <a:lstStyle/>
          <a:p>
            <a:r>
              <a:rPr lang="cs-CZ" dirty="0"/>
              <a:t>Na rozdíl od svých sousedů ČR nedostatečně využívá klíčovou technologii - OZE</a:t>
            </a:r>
          </a:p>
        </p:txBody>
      </p:sp>
      <p:sp>
        <p:nvSpPr>
          <p:cNvPr id="4" name="Zástupný symbol pro číslo snímku 3">
            <a:extLst>
              <a:ext uri="{FF2B5EF4-FFF2-40B4-BE49-F238E27FC236}">
                <a16:creationId xmlns:a16="http://schemas.microsoft.com/office/drawing/2014/main" id="{B683A228-64E7-4F8C-B763-D7674517309A}"/>
              </a:ext>
            </a:extLst>
          </p:cNvPr>
          <p:cNvSpPr>
            <a:spLocks noGrp="1"/>
          </p:cNvSpPr>
          <p:nvPr>
            <p:ph type="sldNum" sz="quarter" idx="10"/>
          </p:nvPr>
        </p:nvSpPr>
        <p:spPr/>
        <p:txBody>
          <a:bodyPr/>
          <a:lstStyle/>
          <a:p>
            <a:fld id="{569EC6D3-E5AC-407E-ABD5-BD9CA53279C2}" type="slidenum">
              <a:rPr lang="cs-CZ" smtClean="0"/>
              <a:pPr/>
              <a:t>2</a:t>
            </a:fld>
            <a:endParaRPr lang="cs-CZ"/>
          </a:p>
        </p:txBody>
      </p:sp>
      <p:sp>
        <p:nvSpPr>
          <p:cNvPr id="5" name="Text Box 3">
            <a:extLst>
              <a:ext uri="{FF2B5EF4-FFF2-40B4-BE49-F238E27FC236}">
                <a16:creationId xmlns:a16="http://schemas.microsoft.com/office/drawing/2014/main" id="{290EC436-95F7-456C-8AF1-92434F9A27C4}"/>
              </a:ext>
            </a:extLst>
          </p:cNvPr>
          <p:cNvSpPr txBox="1">
            <a:spLocks noChangeArrowheads="1"/>
          </p:cNvSpPr>
          <p:nvPr/>
        </p:nvSpPr>
        <p:spPr bwMode="auto">
          <a:xfrm>
            <a:off x="755577" y="2178306"/>
            <a:ext cx="4845519" cy="46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8762" tIns="39382" rIns="78762" bIns="39382"/>
          <a:lstStyle>
            <a:lvl1pPr defTabSz="652463">
              <a:defRPr sz="1400" b="1">
                <a:solidFill>
                  <a:schemeClr val="tx1"/>
                </a:solidFill>
                <a:latin typeface="Arial" pitchFamily="34" charset="0"/>
              </a:defRPr>
            </a:lvl1pPr>
            <a:lvl2pPr marL="742950" indent="-285750" defTabSz="652463">
              <a:defRPr sz="1400" b="1">
                <a:solidFill>
                  <a:schemeClr val="tx1"/>
                </a:solidFill>
                <a:latin typeface="Arial" pitchFamily="34" charset="0"/>
              </a:defRPr>
            </a:lvl2pPr>
            <a:lvl3pPr marL="1143000" indent="-228600" defTabSz="652463">
              <a:defRPr sz="1400" b="1">
                <a:solidFill>
                  <a:schemeClr val="tx1"/>
                </a:solidFill>
                <a:latin typeface="Arial" pitchFamily="34" charset="0"/>
              </a:defRPr>
            </a:lvl3pPr>
            <a:lvl4pPr marL="1600200" indent="-228600" defTabSz="652463">
              <a:defRPr sz="1400" b="1">
                <a:solidFill>
                  <a:schemeClr val="tx1"/>
                </a:solidFill>
                <a:latin typeface="Arial" pitchFamily="34" charset="0"/>
              </a:defRPr>
            </a:lvl4pPr>
            <a:lvl5pPr marL="2057400" indent="-228600" defTabSz="652463">
              <a:defRPr sz="1400" b="1">
                <a:solidFill>
                  <a:schemeClr val="tx1"/>
                </a:solidFill>
                <a:latin typeface="Arial" pitchFamily="34"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9pPr>
          </a:lstStyle>
          <a:p>
            <a:pPr algn="l" eaLnBrk="1" fontAlgn="auto" hangingPunct="1">
              <a:spcBef>
                <a:spcPct val="0"/>
              </a:spcBef>
              <a:spcAft>
                <a:spcPts val="0"/>
              </a:spcAft>
              <a:buClr>
                <a:srgbClr val="F24F00"/>
              </a:buClr>
              <a:defRPr/>
            </a:pPr>
            <a:r>
              <a:rPr lang="cs-CZ" sz="1300" i="0" dirty="0">
                <a:solidFill>
                  <a:srgbClr val="000000"/>
                </a:solidFill>
              </a:rPr>
              <a:t>Cíle pro 2030: podíl OZE ve spotřebě elektřiny</a:t>
            </a:r>
          </a:p>
          <a:p>
            <a:pPr algn="l" eaLnBrk="1" fontAlgn="auto" hangingPunct="1">
              <a:spcBef>
                <a:spcPct val="0"/>
              </a:spcBef>
              <a:spcAft>
                <a:spcPts val="0"/>
              </a:spcAft>
              <a:buClr>
                <a:srgbClr val="F24F00"/>
              </a:buClr>
              <a:defRPr/>
            </a:pPr>
            <a:r>
              <a:rPr lang="cs-CZ" sz="1300" b="0" i="0" dirty="0">
                <a:solidFill>
                  <a:srgbClr val="000000"/>
                </a:solidFill>
              </a:rPr>
              <a:t>%</a:t>
            </a:r>
            <a:endParaRPr lang="en-US" sz="1300" b="0" i="0" dirty="0">
              <a:solidFill>
                <a:srgbClr val="000000"/>
              </a:solidFill>
            </a:endParaRPr>
          </a:p>
        </p:txBody>
      </p:sp>
      <p:graphicFrame>
        <p:nvGraphicFramePr>
          <p:cNvPr id="6" name="Graf 5">
            <a:extLst>
              <a:ext uri="{FF2B5EF4-FFF2-40B4-BE49-F238E27FC236}">
                <a16:creationId xmlns:a16="http://schemas.microsoft.com/office/drawing/2014/main" id="{1FA2A85C-A4D6-40CE-AB19-3BEB3DC72601}"/>
              </a:ext>
            </a:extLst>
          </p:cNvPr>
          <p:cNvGraphicFramePr>
            <a:graphicFrameLocks/>
          </p:cNvGraphicFramePr>
          <p:nvPr/>
        </p:nvGraphicFramePr>
        <p:xfrm>
          <a:off x="726417" y="2539317"/>
          <a:ext cx="5040560" cy="324036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4">
            <a:extLst>
              <a:ext uri="{FF2B5EF4-FFF2-40B4-BE49-F238E27FC236}">
                <a16:creationId xmlns:a16="http://schemas.microsoft.com/office/drawing/2014/main" id="{C7689330-3724-4D65-B626-B57AEFEA1B5D}"/>
              </a:ext>
            </a:extLst>
          </p:cNvPr>
          <p:cNvSpPr>
            <a:spLocks noChangeArrowheads="1"/>
          </p:cNvSpPr>
          <p:nvPr/>
        </p:nvSpPr>
        <p:spPr bwMode="auto">
          <a:xfrm>
            <a:off x="6228185" y="2184765"/>
            <a:ext cx="2477431" cy="3150469"/>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spAutoFit/>
          </a:bodyPr>
          <a:lstStyle/>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rPr>
              <a:t>Vyšší podíl elektřiny z obnovitelných zdrojů usnadňuje plnění cílů v dekarbonizaci non-ETS sektorů a rovněž v oblasti energetických úspor</a:t>
            </a:r>
          </a:p>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endParaRPr lang="cs-CZ" sz="1300" i="0" dirty="0">
              <a:solidFill>
                <a:srgbClr val="000000"/>
              </a:solidFill>
              <a:latin typeface="Arial" charset="0"/>
              <a:cs typeface="Arial" charset="0"/>
              <a:sym typeface="Symbol"/>
            </a:endParaRPr>
          </a:p>
          <a:p>
            <a:pPr marL="179388" lvl="1" indent="-179388" algn="l" defTabSz="895350" eaLnBrk="1" fontAlgn="auto" hangingPunct="1">
              <a:spcBef>
                <a:spcPts val="300"/>
              </a:spcBef>
              <a:spcAft>
                <a:spcPts val="0"/>
              </a:spcAft>
              <a:buClr>
                <a:srgbClr val="F24F00"/>
              </a:buClr>
              <a:buSzPct val="120000"/>
              <a:buFont typeface="Wingdings" pitchFamily="2" charset="2"/>
              <a:buChar char="§"/>
              <a:tabLst>
                <a:tab pos="179388" algn="l"/>
              </a:tabLst>
              <a:defRPr/>
            </a:pPr>
            <a:r>
              <a:rPr lang="cs-CZ" sz="1300" i="0" dirty="0">
                <a:solidFill>
                  <a:srgbClr val="000000"/>
                </a:solidFill>
                <a:latin typeface="Arial" charset="0"/>
                <a:cs typeface="Arial" charset="0"/>
                <a:sym typeface="Symbol"/>
              </a:rPr>
              <a:t>V připravované taxonomii se  připravuje zpřísnění emisních limitů výrazně pod emisní úroveň nové paroplynové elektrárny. Obnovitelné zdroje tak mohou přispět k řešení energetické bezpečnosti a soběstačnosti</a:t>
            </a:r>
          </a:p>
        </p:txBody>
      </p:sp>
    </p:spTree>
    <p:extLst>
      <p:ext uri="{BB962C8B-B14F-4D97-AF65-F5344CB8AC3E}">
        <p14:creationId xmlns:p14="http://schemas.microsoft.com/office/powerpoint/2010/main" val="968483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6D25CF6-B974-4CD9-BD3D-C0B7E63305C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24" imgH="324" progId="TCLayout.ActiveDocument.1">
                  <p:embed/>
                </p:oleObj>
              </mc:Choice>
              <mc:Fallback>
                <p:oleObj name="think-cell Slide" r:id="rId5" imgW="324" imgH="324" progId="TCLayout.ActiveDocument.1">
                  <p:embed/>
                  <p:pic>
                    <p:nvPicPr>
                      <p:cNvPr id="6" name="Objekt 5" hidden="1">
                        <a:extLst>
                          <a:ext uri="{FF2B5EF4-FFF2-40B4-BE49-F238E27FC236}">
                            <a16:creationId xmlns:a16="http://schemas.microsoft.com/office/drawing/2014/main" id="{46D25CF6-B974-4CD9-BD3D-C0B7E63305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Obdélník 4" hidden="1">
            <a:extLst>
              <a:ext uri="{FF2B5EF4-FFF2-40B4-BE49-F238E27FC236}">
                <a16:creationId xmlns:a16="http://schemas.microsoft.com/office/drawing/2014/main" id="{016503E0-2EAD-4D37-8792-81FB0BED60E8}"/>
              </a:ext>
            </a:extLst>
          </p:cNvPr>
          <p:cNvSpPr/>
          <p:nvPr>
            <p:custDataLst>
              <p:tags r:id="rId3"/>
            </p:custDataLst>
          </p:nvPr>
        </p:nvSpPr>
        <p:spPr bwMode="auto">
          <a:xfrm>
            <a:off x="0" y="0"/>
            <a:ext cx="158750" cy="158750"/>
          </a:xfrm>
          <a:prstGeom prst="rect">
            <a:avLst/>
          </a:prstGeom>
          <a:solidFill>
            <a:schemeClr val="bg2"/>
          </a:solidFill>
          <a:ln w="0">
            <a:noFill/>
            <a:prstDash val="solid"/>
            <a:round/>
            <a:headEnd/>
            <a:tailEnd/>
          </a:ln>
        </p:spPr>
        <p:txBody>
          <a:bodyPr vert="horz" wrap="none" lIns="0" tIns="0" rIns="0" bIns="0" numCol="1" spcCol="0" rtlCol="0" anchor="t"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endParaRPr kumimoji="0" lang="cs-CZ" sz="2400" b="0" i="0" u="none" strike="noStrike" kern="1200" cap="none" spc="0" normalizeH="0" baseline="0" noProof="0" dirty="0">
              <a:ln>
                <a:noFill/>
              </a:ln>
              <a:solidFill>
                <a:srgbClr val="000000"/>
              </a:solidFill>
              <a:effectLst/>
              <a:uLnTx/>
              <a:uFillTx/>
              <a:latin typeface="Futura CEZ Medium" pitchFamily="2" charset="0"/>
              <a:ea typeface="+mn-ea"/>
              <a:cs typeface="+mn-cs"/>
              <a:sym typeface="Futura CEZ Medium" pitchFamily="2" charset="0"/>
            </a:endParaRPr>
          </a:p>
        </p:txBody>
      </p:sp>
      <p:graphicFrame>
        <p:nvGraphicFramePr>
          <p:cNvPr id="8" name="Graf 7">
            <a:extLst>
              <a:ext uri="{FF2B5EF4-FFF2-40B4-BE49-F238E27FC236}">
                <a16:creationId xmlns:a16="http://schemas.microsoft.com/office/drawing/2014/main" id="{47F7FFB4-A53B-4682-AAE5-68A7DB191506}"/>
              </a:ext>
            </a:extLst>
          </p:cNvPr>
          <p:cNvGraphicFramePr>
            <a:graphicFrameLocks/>
          </p:cNvGraphicFramePr>
          <p:nvPr/>
        </p:nvGraphicFramePr>
        <p:xfrm>
          <a:off x="170635" y="1695420"/>
          <a:ext cx="5190637" cy="4852256"/>
        </p:xfrm>
        <a:graphic>
          <a:graphicData uri="http://schemas.openxmlformats.org/drawingml/2006/chart">
            <c:chart xmlns:c="http://schemas.openxmlformats.org/drawingml/2006/chart" xmlns:r="http://schemas.openxmlformats.org/officeDocument/2006/relationships" r:id="rId7"/>
          </a:graphicData>
        </a:graphic>
      </p:graphicFrame>
      <p:sp>
        <p:nvSpPr>
          <p:cNvPr id="2" name="Nadpis 1"/>
          <p:cNvSpPr>
            <a:spLocks noGrp="1"/>
          </p:cNvSpPr>
          <p:nvPr>
            <p:ph type="title"/>
          </p:nvPr>
        </p:nvSpPr>
        <p:spPr>
          <a:xfrm>
            <a:off x="504001" y="763888"/>
            <a:ext cx="6876000" cy="391389"/>
          </a:xfrm>
        </p:spPr>
        <p:txBody>
          <a:bodyPr/>
          <a:lstStyle/>
          <a:p>
            <a:r>
              <a:rPr lang="cs-CZ" dirty="0"/>
              <a:t>Přitom potenciál tu je….</a:t>
            </a:r>
          </a:p>
        </p:txBody>
      </p:sp>
      <p:sp>
        <p:nvSpPr>
          <p:cNvPr id="4" name="Zástupný symbol pro číslo snímku 3"/>
          <p:cNvSpPr>
            <a:spLocks noGrp="1"/>
          </p:cNvSpPr>
          <p:nvPr>
            <p:ph type="sldNum" sz="quarter" idx="10"/>
          </p:nvPr>
        </p:nvSpPr>
        <p:spPr/>
        <p:txBody>
          <a:bodyPr/>
          <a:lstStyle/>
          <a:p>
            <a:pPr marL="0" marR="0" lvl="0" indent="0" algn="l" defTabSz="895350" rtl="0" eaLnBrk="1" fontAlgn="base" latinLnBrk="0" hangingPunct="1">
              <a:lnSpc>
                <a:spcPct val="100000"/>
              </a:lnSpc>
              <a:spcBef>
                <a:spcPct val="0"/>
              </a:spcBef>
              <a:spcAft>
                <a:spcPct val="0"/>
              </a:spcAft>
              <a:buClrTx/>
              <a:buSzTx/>
              <a:buFontTx/>
              <a:buNone/>
              <a:tabLst/>
              <a:defRPr/>
            </a:pPr>
            <a:fld id="{569EC6D3-E5AC-407E-ABD5-BD9CA53279C2}" type="slidenum">
              <a:rPr kumimoji="0" lang="cs-CZ" sz="1000" b="1" i="0" u="none" strike="noStrike" kern="1200" cap="none" spc="0" normalizeH="0" baseline="0" noProof="0" smtClean="0">
                <a:ln>
                  <a:noFill/>
                </a:ln>
                <a:solidFill>
                  <a:srgbClr val="FFFFFF"/>
                </a:solidFill>
                <a:effectLst/>
                <a:uLnTx/>
                <a:uFillTx/>
                <a:latin typeface="Arial CE" panose="020B0604020202020204"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3</a:t>
            </a:fld>
            <a:endParaRPr kumimoji="0" lang="cs-CZ" sz="1000" b="1" i="0" u="none" strike="noStrike" kern="1200" cap="none" spc="0" normalizeH="0" baseline="0" noProof="0">
              <a:ln>
                <a:noFill/>
              </a:ln>
              <a:solidFill>
                <a:srgbClr val="FFFFFF"/>
              </a:solidFill>
              <a:effectLst/>
              <a:uLnTx/>
              <a:uFillTx/>
              <a:latin typeface="Arial CE" panose="020B0604020202020204" pitchFamily="34" charset="0"/>
              <a:ea typeface="+mn-ea"/>
              <a:cs typeface="Arial CE" panose="020B0604020202020204" pitchFamily="34" charset="0"/>
            </a:endParaRPr>
          </a:p>
        </p:txBody>
      </p:sp>
      <p:sp>
        <p:nvSpPr>
          <p:cNvPr id="7" name="Text Box 3">
            <a:extLst>
              <a:ext uri="{FF2B5EF4-FFF2-40B4-BE49-F238E27FC236}">
                <a16:creationId xmlns:a16="http://schemas.microsoft.com/office/drawing/2014/main" id="{6E3CFC35-31AF-4792-91F0-0DCC1354F50D}"/>
              </a:ext>
            </a:extLst>
          </p:cNvPr>
          <p:cNvSpPr txBox="1">
            <a:spLocks noChangeArrowheads="1"/>
          </p:cNvSpPr>
          <p:nvPr/>
        </p:nvSpPr>
        <p:spPr bwMode="auto">
          <a:xfrm>
            <a:off x="488270" y="1426725"/>
            <a:ext cx="5811921" cy="44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8762" tIns="39382" rIns="78762" bIns="39382"/>
          <a:lstStyle>
            <a:lvl1pPr defTabSz="652463">
              <a:defRPr sz="1400" b="1">
                <a:solidFill>
                  <a:schemeClr val="tx1"/>
                </a:solidFill>
                <a:latin typeface="Arial" pitchFamily="34" charset="0"/>
              </a:defRPr>
            </a:lvl1pPr>
            <a:lvl2pPr marL="742950" indent="-285750" defTabSz="652463">
              <a:defRPr sz="1400" b="1">
                <a:solidFill>
                  <a:schemeClr val="tx1"/>
                </a:solidFill>
                <a:latin typeface="Arial" pitchFamily="34" charset="0"/>
              </a:defRPr>
            </a:lvl2pPr>
            <a:lvl3pPr marL="1143000" indent="-228600" defTabSz="652463">
              <a:defRPr sz="1400" b="1">
                <a:solidFill>
                  <a:schemeClr val="tx1"/>
                </a:solidFill>
                <a:latin typeface="Arial" pitchFamily="34" charset="0"/>
              </a:defRPr>
            </a:lvl3pPr>
            <a:lvl4pPr marL="1600200" indent="-228600" defTabSz="652463">
              <a:defRPr sz="1400" b="1">
                <a:solidFill>
                  <a:schemeClr val="tx1"/>
                </a:solidFill>
                <a:latin typeface="Arial" pitchFamily="34" charset="0"/>
              </a:defRPr>
            </a:lvl4pPr>
            <a:lvl5pPr marL="2057400" indent="-228600" defTabSz="652463">
              <a:defRPr sz="1400" b="1">
                <a:solidFill>
                  <a:schemeClr val="tx1"/>
                </a:solidFill>
                <a:latin typeface="Arial" pitchFamily="34"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9pPr>
          </a:lstStyle>
          <a:p>
            <a:pPr marL="0" marR="0" lvl="0" indent="0" algn="l" defTabSz="652463" rtl="0" eaLnBrk="0" fontAlgn="base" latinLnBrk="0" hangingPunct="0">
              <a:lnSpc>
                <a:spcPct val="100000"/>
              </a:lnSpc>
              <a:spcBef>
                <a:spcPct val="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Technický potenciál výroby elektřiny z nespalovacích OZE</a:t>
            </a:r>
          </a:p>
          <a:p>
            <a:pPr marL="0" marR="0" lvl="0" indent="0" algn="l" defTabSz="652463" rtl="0" eaLnBrk="0" fontAlgn="base" latinLnBrk="0" hangingPunct="0">
              <a:lnSpc>
                <a:spcPct val="100000"/>
              </a:lnSpc>
              <a:spcBef>
                <a:spcPct val="0"/>
              </a:spcBef>
              <a:spcAft>
                <a:spcPct val="0"/>
              </a:spcAft>
              <a:buClr>
                <a:srgbClr val="F24F00"/>
              </a:buClr>
              <a:buSzTx/>
              <a:buFont typeface="Wingdings" pitchFamily="2" charset="2"/>
              <a:buNone/>
              <a:tabLst/>
              <a:defRPr/>
            </a:pPr>
            <a:r>
              <a:rPr kumimoji="0" lang="cs-CZ" sz="1400" b="0" i="0" u="none" strike="noStrike" kern="1200" cap="none" spc="0" normalizeH="0" baseline="0" noProof="0" dirty="0" err="1">
                <a:ln>
                  <a:noFill/>
                </a:ln>
                <a:solidFill>
                  <a:srgbClr val="000000"/>
                </a:solidFill>
                <a:effectLst/>
                <a:uLnTx/>
                <a:uFillTx/>
                <a:latin typeface="Arial" pitchFamily="34" charset="0"/>
                <a:ea typeface="+mn-ea"/>
                <a:cs typeface="+mn-cs"/>
              </a:rPr>
              <a:t>TWh</a:t>
            </a:r>
            <a:r>
              <a:rPr kumimoji="0" lang="cs-CZ" sz="1400" b="0" i="0" u="none" strike="noStrike" kern="1200" cap="none" spc="0" normalizeH="0" baseline="0" noProof="0" dirty="0">
                <a:ln>
                  <a:noFill/>
                </a:ln>
                <a:solidFill>
                  <a:srgbClr val="000000"/>
                </a:solidFill>
                <a:effectLst/>
                <a:uLnTx/>
                <a:uFillTx/>
                <a:latin typeface="Arial" pitchFamily="34" charset="0"/>
                <a:ea typeface="+mn-ea"/>
                <a:cs typeface="+mn-cs"/>
              </a:rPr>
              <a:t> ročně</a:t>
            </a:r>
          </a:p>
        </p:txBody>
      </p:sp>
      <p:sp>
        <p:nvSpPr>
          <p:cNvPr id="9" name="Obdélník 8">
            <a:extLst>
              <a:ext uri="{FF2B5EF4-FFF2-40B4-BE49-F238E27FC236}">
                <a16:creationId xmlns:a16="http://schemas.microsoft.com/office/drawing/2014/main" id="{DB09A60B-1E4D-4E26-8287-4FFC471AB603}"/>
              </a:ext>
            </a:extLst>
          </p:cNvPr>
          <p:cNvSpPr/>
          <p:nvPr/>
        </p:nvSpPr>
        <p:spPr>
          <a:xfrm>
            <a:off x="5361272" y="1874180"/>
            <a:ext cx="3782727" cy="1041311"/>
          </a:xfrm>
          <a:prstGeom prst="rect">
            <a:avLst/>
          </a:prstGeom>
          <a:solidFill>
            <a:schemeClr val="bg1"/>
          </a:solidFill>
        </p:spPr>
        <p:txBody>
          <a:bodyPr wrap="square">
            <a:spAutoFit/>
          </a:bodyPr>
          <a:lstStyle/>
          <a:p>
            <a:pPr marL="179388" marR="0" lvl="1" indent="-179388" algn="l" defTabSz="895350" rtl="0" eaLnBrk="1" fontAlgn="auto" latinLnBrk="0" hangingPunct="1">
              <a:lnSpc>
                <a:spcPct val="100000"/>
              </a:lnSpc>
              <a:spcBef>
                <a:spcPts val="2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Technický potenciál střešních PV a brownfieldů </a:t>
            </a:r>
          </a:p>
          <a:p>
            <a:pPr marL="179388" marR="0" lvl="1" indent="-179388" algn="l" defTabSz="895350" rtl="0" eaLnBrk="1" fontAlgn="auto" latinLnBrk="0" hangingPunct="1">
              <a:lnSpc>
                <a:spcPct val="100000"/>
              </a:lnSpc>
              <a:spcBef>
                <a:spcPts val="2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Obecně celkový potenciál přesahuje čistou spotřebu ČR (62,3 </a:t>
            </a:r>
            <a:r>
              <a:rPr kumimoji="0" lang="cs-CZ" sz="1200" b="0" i="0" u="none" strike="noStrike" kern="1200" cap="none" spc="0" normalizeH="0" baseline="0" noProof="0" dirty="0" err="1">
                <a:ln>
                  <a:noFill/>
                </a:ln>
                <a:solidFill>
                  <a:srgbClr val="000000"/>
                </a:solidFill>
                <a:effectLst/>
                <a:uLnTx/>
                <a:uFillTx/>
                <a:latin typeface="Arial" charset="0"/>
                <a:ea typeface="+mn-ea"/>
                <a:cs typeface="Arial" charset="0"/>
              </a:rPr>
              <a:t>TWh</a:t>
            </a: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 ve 2019): </a:t>
            </a:r>
            <a:r>
              <a:rPr kumimoji="0" lang="en-US" sz="1200" b="0" i="0" u="none" strike="noStrike" kern="1200" cap="none" spc="0" normalizeH="0" baseline="0" noProof="0" dirty="0" err="1">
                <a:ln>
                  <a:noFill/>
                </a:ln>
                <a:solidFill>
                  <a:srgbClr val="000000"/>
                </a:solidFill>
                <a:effectLst/>
                <a:uLnTx/>
                <a:uFillTx/>
                <a:latin typeface="Arial" charset="0"/>
                <a:ea typeface="+mn-ea"/>
                <a:cs typeface="Arial" charset="0"/>
              </a:rPr>
              <a:t>na</a:t>
            </a: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 její </a:t>
            </a:r>
            <a:r>
              <a:rPr kumimoji="0" lang="en-US" sz="1200" b="0" i="0" u="none" strike="noStrike" kern="1200" cap="none" spc="0" normalizeH="0" baseline="0" noProof="0" dirty="0" err="1">
                <a:ln>
                  <a:noFill/>
                </a:ln>
                <a:solidFill>
                  <a:srgbClr val="000000"/>
                </a:solidFill>
                <a:effectLst/>
                <a:uLnTx/>
                <a:uFillTx/>
                <a:latin typeface="Arial" charset="0"/>
                <a:ea typeface="+mn-ea"/>
                <a:cs typeface="Arial" charset="0"/>
              </a:rPr>
              <a:t>pokryt</a:t>
            </a: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í by bylo třeba necelých 600 km2 (pro srovnání osevní plocha řepky ve 2020 je téměř 3 700 km2)</a:t>
            </a:r>
          </a:p>
        </p:txBody>
      </p:sp>
      <p:sp>
        <p:nvSpPr>
          <p:cNvPr id="10" name="Obdélník 9">
            <a:extLst>
              <a:ext uri="{FF2B5EF4-FFF2-40B4-BE49-F238E27FC236}">
                <a16:creationId xmlns:a16="http://schemas.microsoft.com/office/drawing/2014/main" id="{C2141AE2-F4B5-46A9-9FCC-36E832980FAD}"/>
              </a:ext>
            </a:extLst>
          </p:cNvPr>
          <p:cNvSpPr/>
          <p:nvPr/>
        </p:nvSpPr>
        <p:spPr>
          <a:xfrm>
            <a:off x="5361270" y="3081246"/>
            <a:ext cx="3782727" cy="684803"/>
          </a:xfrm>
          <a:prstGeom prst="rect">
            <a:avLst/>
          </a:prstGeom>
          <a:noFill/>
        </p:spPr>
        <p:txBody>
          <a:bodyPr wrap="square">
            <a:spAutoFit/>
          </a:bodyPr>
          <a:lstStyle/>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Konzervativní scénář rozvoje do 2040</a:t>
            </a:r>
          </a:p>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Dle </a:t>
            </a:r>
            <a:r>
              <a:rPr kumimoji="0" lang="cs-CZ" sz="1200" b="0" i="0" u="none" strike="noStrike" kern="1200" cap="none" spc="0" normalizeH="0" baseline="0" noProof="0" dirty="0" err="1">
                <a:ln>
                  <a:noFill/>
                </a:ln>
                <a:solidFill>
                  <a:srgbClr val="000000"/>
                </a:solidFill>
                <a:effectLst/>
                <a:uLnTx/>
                <a:uFillTx/>
                <a:latin typeface="Arial" charset="0"/>
                <a:ea typeface="+mn-ea"/>
                <a:cs typeface="Arial" charset="0"/>
              </a:rPr>
              <a:t>optimistického</a:t>
            </a: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 scénáře by výroba mohla dosáhnout až 18,8 </a:t>
            </a:r>
            <a:r>
              <a:rPr kumimoji="0" lang="cs-CZ" sz="1200" b="0" i="0" u="none" strike="noStrike" kern="1200" cap="none" spc="0" normalizeH="0" baseline="0" noProof="0" dirty="0" err="1">
                <a:ln>
                  <a:noFill/>
                </a:ln>
                <a:solidFill>
                  <a:srgbClr val="000000"/>
                </a:solidFill>
                <a:effectLst/>
                <a:uLnTx/>
                <a:uFillTx/>
                <a:latin typeface="Arial" charset="0"/>
                <a:ea typeface="+mn-ea"/>
                <a:cs typeface="Arial" charset="0"/>
              </a:rPr>
              <a:t>TWh</a:t>
            </a: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 </a:t>
            </a:r>
          </a:p>
        </p:txBody>
      </p:sp>
      <p:sp>
        <p:nvSpPr>
          <p:cNvPr id="11" name="TextovéPole 10">
            <a:extLst>
              <a:ext uri="{FF2B5EF4-FFF2-40B4-BE49-F238E27FC236}">
                <a16:creationId xmlns:a16="http://schemas.microsoft.com/office/drawing/2014/main" id="{43860228-D1ED-4142-8670-2A87CAD8D54C}"/>
              </a:ext>
            </a:extLst>
          </p:cNvPr>
          <p:cNvSpPr txBox="1"/>
          <p:nvPr/>
        </p:nvSpPr>
        <p:spPr>
          <a:xfrm>
            <a:off x="659506" y="6605881"/>
            <a:ext cx="6997567" cy="323165"/>
          </a:xfrm>
          <a:prstGeom prst="rect">
            <a:avLst/>
          </a:prstGeom>
          <a:noFill/>
        </p:spPr>
        <p:txBody>
          <a:bodyPr wrap="square" rtlCol="0">
            <a:spAutoFit/>
          </a:bodyPr>
          <a:lstStyle/>
          <a:p>
            <a:pPr marL="0" marR="0" lvl="0" indent="0" algn="l" defTabSz="914400" rtl="0" eaLnBrk="0" fontAlgn="base" latinLnBrk="0" hangingPunct="0">
              <a:lnSpc>
                <a:spcPts val="900"/>
              </a:lnSpc>
              <a:spcBef>
                <a:spcPts val="0"/>
              </a:spcBef>
              <a:spcAft>
                <a:spcPct val="0"/>
              </a:spcAft>
              <a:buClr>
                <a:srgbClr val="F24F00"/>
              </a:buClr>
              <a:buSzTx/>
              <a:buFont typeface="Wingdings" pitchFamily="2" charset="2"/>
              <a:buNone/>
              <a:tabLst/>
              <a:defRPr/>
            </a:pPr>
            <a:r>
              <a:rPr kumimoji="0" lang="cs-CZ" sz="900" b="0" i="0" u="none" strike="noStrike" kern="1200" cap="none" spc="0" normalizeH="0" baseline="0" noProof="0" dirty="0">
                <a:ln>
                  <a:noFill/>
                </a:ln>
                <a:solidFill>
                  <a:srgbClr val="FFFFFF"/>
                </a:solidFill>
                <a:effectLst/>
                <a:uLnTx/>
                <a:uFillTx/>
                <a:latin typeface="Arial" pitchFamily="34" charset="0"/>
                <a:ea typeface="+mn-ea"/>
                <a:cs typeface="+mn-cs"/>
              </a:rPr>
              <a:t>Zdroje: výroba 2019 – ERÚ, PV – EGÚ Brno (</a:t>
            </a:r>
            <a:r>
              <a:rPr kumimoji="0" lang="en-US" sz="900" b="0" i="0" u="none" strike="noStrike" kern="1200" cap="none" spc="0" normalizeH="0" baseline="0" noProof="0" dirty="0">
                <a:ln>
                  <a:noFill/>
                </a:ln>
                <a:solidFill>
                  <a:srgbClr val="FFFFFF"/>
                </a:solidFill>
                <a:effectLst/>
                <a:uLnTx/>
                <a:uFillTx/>
                <a:latin typeface="Arial" pitchFamily="34" charset="0"/>
                <a:ea typeface="+mn-ea"/>
                <a:cs typeface="+mn-cs"/>
              </a:rPr>
              <a:t>2019</a:t>
            </a:r>
            <a:r>
              <a:rPr kumimoji="0" lang="cs-CZ" sz="900" b="0" i="0" u="none" strike="noStrike" kern="1200" cap="none" spc="0" normalizeH="0" baseline="0" noProof="0" dirty="0">
                <a:ln>
                  <a:noFill/>
                </a:ln>
                <a:solidFill>
                  <a:srgbClr val="FFFFFF"/>
                </a:solidFill>
                <a:effectLst/>
                <a:uLnTx/>
                <a:uFillTx/>
                <a:latin typeface="Arial" pitchFamily="34" charset="0"/>
                <a:ea typeface="+mn-ea"/>
                <a:cs typeface="+mn-cs"/>
              </a:rPr>
              <a:t>)</a:t>
            </a:r>
            <a:r>
              <a:rPr kumimoji="0" lang="en-US" sz="900" b="0" i="0" u="none" strike="noStrike" kern="1200" cap="none" spc="0" normalizeH="0" baseline="0" noProof="0" dirty="0">
                <a:ln>
                  <a:noFill/>
                </a:ln>
                <a:solidFill>
                  <a:srgbClr val="FFFFFF"/>
                </a:solidFill>
                <a:effectLst/>
                <a:uLnTx/>
                <a:uFillTx/>
                <a:latin typeface="Arial" pitchFamily="34" charset="0"/>
                <a:ea typeface="+mn-ea"/>
                <a:cs typeface="+mn-cs"/>
              </a:rPr>
              <a:t>, V</a:t>
            </a:r>
            <a:r>
              <a:rPr kumimoji="0" lang="cs-CZ" sz="900" b="0" i="0" u="none" strike="noStrike" kern="1200" cap="none" spc="0" normalizeH="0" baseline="0" noProof="0" dirty="0" err="1">
                <a:ln>
                  <a:noFill/>
                </a:ln>
                <a:solidFill>
                  <a:srgbClr val="FFFFFF"/>
                </a:solidFill>
                <a:effectLst/>
                <a:uLnTx/>
                <a:uFillTx/>
                <a:latin typeface="Arial" pitchFamily="34" charset="0"/>
                <a:ea typeface="+mn-ea"/>
                <a:cs typeface="+mn-cs"/>
              </a:rPr>
              <a:t>ítr</a:t>
            </a:r>
            <a:r>
              <a:rPr kumimoji="0" lang="cs-CZ" sz="900" b="0" i="0" u="none" strike="noStrike" kern="1200" cap="none" spc="0" normalizeH="0" baseline="0" noProof="0" dirty="0">
                <a:ln>
                  <a:noFill/>
                </a:ln>
                <a:solidFill>
                  <a:srgbClr val="FFFFFF"/>
                </a:solidFill>
                <a:effectLst/>
                <a:uLnTx/>
                <a:uFillTx/>
                <a:latin typeface="Arial" pitchFamily="34" charset="0"/>
                <a:ea typeface="+mn-ea"/>
                <a:cs typeface="+mn-cs"/>
              </a:rPr>
              <a:t> – Ústav fyziky atmosféry AV (2020), Voda – MPO (2019), </a:t>
            </a:r>
            <a:r>
              <a:rPr kumimoji="0" lang="cs-CZ" sz="900" b="0" i="0" u="none" strike="noStrike" kern="1200" cap="none" spc="0" normalizeH="0" baseline="0" noProof="0" dirty="0" err="1">
                <a:ln>
                  <a:noFill/>
                </a:ln>
                <a:solidFill>
                  <a:srgbClr val="FFFFFF"/>
                </a:solidFill>
                <a:effectLst/>
                <a:uLnTx/>
                <a:uFillTx/>
                <a:latin typeface="Arial" pitchFamily="34" charset="0"/>
                <a:ea typeface="+mn-ea"/>
                <a:cs typeface="+mn-cs"/>
              </a:rPr>
              <a:t>Geotermál</a:t>
            </a:r>
            <a:r>
              <a:rPr kumimoji="0" lang="cs-CZ" sz="900" b="0" i="0" u="none" strike="noStrike" kern="1200" cap="none" spc="0" normalizeH="0" baseline="0" noProof="0" dirty="0">
                <a:ln>
                  <a:noFill/>
                </a:ln>
                <a:solidFill>
                  <a:srgbClr val="FFFFFF"/>
                </a:solidFill>
                <a:effectLst/>
                <a:uLnTx/>
                <a:uFillTx/>
                <a:latin typeface="Arial" pitchFamily="34" charset="0"/>
                <a:ea typeface="+mn-ea"/>
                <a:cs typeface="+mn-cs"/>
              </a:rPr>
              <a:t> – enviweb.cz (2019)</a:t>
            </a:r>
          </a:p>
        </p:txBody>
      </p:sp>
      <p:sp>
        <p:nvSpPr>
          <p:cNvPr id="12" name="Obdélník 11">
            <a:extLst>
              <a:ext uri="{FF2B5EF4-FFF2-40B4-BE49-F238E27FC236}">
                <a16:creationId xmlns:a16="http://schemas.microsoft.com/office/drawing/2014/main" id="{EF824BEB-68D8-412A-8417-C6AD03E00FCD}"/>
              </a:ext>
            </a:extLst>
          </p:cNvPr>
          <p:cNvSpPr/>
          <p:nvPr/>
        </p:nvSpPr>
        <p:spPr>
          <a:xfrm>
            <a:off x="5361267" y="4002351"/>
            <a:ext cx="3782727" cy="907941"/>
          </a:xfrm>
          <a:prstGeom prst="rect">
            <a:avLst/>
          </a:prstGeom>
          <a:solidFill>
            <a:schemeClr val="bg1"/>
          </a:solidFill>
        </p:spPr>
        <p:txBody>
          <a:bodyPr wrap="square">
            <a:spAutoFit/>
          </a:bodyPr>
          <a:lstStyle/>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Dřívější odhad pro 2050, ve 2030 pak 350 </a:t>
            </a:r>
            <a:r>
              <a:rPr kumimoji="0" lang="cs-CZ" sz="1200" b="0" i="0" u="none" strike="noStrike" kern="1200" cap="none" spc="0" normalizeH="0" baseline="0" noProof="0" dirty="0" err="1">
                <a:ln>
                  <a:noFill/>
                </a:ln>
                <a:solidFill>
                  <a:srgbClr val="000000"/>
                </a:solidFill>
                <a:effectLst/>
                <a:uLnTx/>
                <a:uFillTx/>
                <a:latin typeface="Arial" charset="0"/>
                <a:ea typeface="+mn-ea"/>
                <a:cs typeface="Arial" charset="0"/>
              </a:rPr>
              <a:t>GWh</a:t>
            </a:r>
            <a:endParaRPr kumimoji="0" lang="cs-CZ" sz="1200" b="0" i="0" u="none" strike="noStrike" kern="1200" cap="none" spc="0" normalizeH="0" baseline="0" noProof="0" dirty="0">
              <a:ln>
                <a:noFill/>
              </a:ln>
              <a:solidFill>
                <a:srgbClr val="000000"/>
              </a:solidFill>
              <a:effectLst/>
              <a:uLnTx/>
              <a:uFillTx/>
              <a:latin typeface="Arial" charset="0"/>
              <a:ea typeface="+mn-ea"/>
              <a:cs typeface="Arial" charset="0"/>
            </a:endParaRPr>
          </a:p>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Aktuálně běží projekt pro zmapování potenciálu geotermální energie v ČR (výsledky 2022)</a:t>
            </a:r>
          </a:p>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Potenciál údajně až třetina spotřeby elektřiny</a:t>
            </a:r>
          </a:p>
        </p:txBody>
      </p:sp>
      <p:sp>
        <p:nvSpPr>
          <p:cNvPr id="21" name="Obdélník 20">
            <a:extLst>
              <a:ext uri="{FF2B5EF4-FFF2-40B4-BE49-F238E27FC236}">
                <a16:creationId xmlns:a16="http://schemas.microsoft.com/office/drawing/2014/main" id="{4EED7DB8-D8B6-409F-8598-DB32416C8AAC}"/>
              </a:ext>
            </a:extLst>
          </p:cNvPr>
          <p:cNvSpPr/>
          <p:nvPr/>
        </p:nvSpPr>
        <p:spPr>
          <a:xfrm>
            <a:off x="5361268" y="5138007"/>
            <a:ext cx="3782727" cy="869469"/>
          </a:xfrm>
          <a:prstGeom prst="rect">
            <a:avLst/>
          </a:prstGeom>
          <a:solidFill>
            <a:schemeClr val="bg1"/>
          </a:solidFill>
        </p:spPr>
        <p:txBody>
          <a:bodyPr wrap="square">
            <a:spAutoFit/>
          </a:bodyPr>
          <a:lstStyle/>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Hydroenergetický potenciál v ČR do značné míry vyčerpán</a:t>
            </a:r>
          </a:p>
          <a:p>
            <a:pPr marL="179388" marR="0" lvl="1" indent="-179388" algn="l" defTabSz="895350" rtl="0" eaLnBrk="1" fontAlgn="auto" latinLnBrk="0" hangingPunct="1">
              <a:lnSpc>
                <a:spcPct val="100000"/>
              </a:lnSpc>
              <a:spcBef>
                <a:spcPts val="300"/>
              </a:spcBef>
              <a:spcAft>
                <a:spcPts val="0"/>
              </a:spcAft>
              <a:buClr>
                <a:srgbClr val="F24F00"/>
              </a:buClr>
              <a:buSzPct val="120000"/>
              <a:buFont typeface="Wingdings" pitchFamily="2" charset="2"/>
              <a:buChar char="§"/>
              <a:tabLst>
                <a:tab pos="179388" algn="l"/>
              </a:tabLst>
              <a:defRPr/>
            </a:pPr>
            <a:r>
              <a:rPr kumimoji="0" lang="cs-CZ" sz="1200" b="0" i="0" u="none" strike="noStrike" kern="1200" cap="none" spc="0" normalizeH="0" baseline="0" noProof="0" dirty="0">
                <a:ln>
                  <a:noFill/>
                </a:ln>
                <a:solidFill>
                  <a:srgbClr val="000000"/>
                </a:solidFill>
                <a:effectLst/>
                <a:uLnTx/>
                <a:uFillTx/>
                <a:latin typeface="Arial" charset="0"/>
                <a:ea typeface="+mn-ea"/>
                <a:cs typeface="Arial" charset="0"/>
              </a:rPr>
              <a:t>Zbývá dodatečný potenciál u malých vodních elektráren do 10 MW výkonu</a:t>
            </a:r>
          </a:p>
        </p:txBody>
      </p:sp>
      <p:sp>
        <p:nvSpPr>
          <p:cNvPr id="22" name="TextovéPole 21">
            <a:extLst>
              <a:ext uri="{FF2B5EF4-FFF2-40B4-BE49-F238E27FC236}">
                <a16:creationId xmlns:a16="http://schemas.microsoft.com/office/drawing/2014/main" id="{17ED5558-45C5-45F6-9E6A-D7D7237CFA85}"/>
              </a:ext>
            </a:extLst>
          </p:cNvPr>
          <p:cNvSpPr txBox="1"/>
          <p:nvPr/>
        </p:nvSpPr>
        <p:spPr>
          <a:xfrm>
            <a:off x="504001" y="6158983"/>
            <a:ext cx="8639998" cy="461665"/>
          </a:xfrm>
          <a:prstGeom prst="rect">
            <a:avLst/>
          </a:prstGeom>
          <a:solidFill>
            <a:schemeClr val="bg1">
              <a:lumMod val="85000"/>
            </a:schemeClr>
          </a:solidFill>
        </p:spPr>
        <p:txBody>
          <a:bodyPr wrap="square" rtlCol="0">
            <a:spAutoFit/>
          </a:bodyPr>
          <a:lstStyle/>
          <a:p>
            <a:pPr marL="0" marR="0" lvl="0" indent="0" algn="l" defTabSz="914400" rtl="0" eaLnBrk="0" fontAlgn="base" latinLnBrk="0" hangingPunct="0">
              <a:lnSpc>
                <a:spcPct val="100000"/>
              </a:lnSpc>
              <a:spcBef>
                <a:spcPct val="50000"/>
              </a:spcBef>
              <a:spcAft>
                <a:spcPct val="0"/>
              </a:spcAft>
              <a:buClr>
                <a:srgbClr val="F24F00"/>
              </a:buClr>
              <a:buSzTx/>
              <a:buFontTx/>
              <a:buNone/>
              <a:tabLst/>
              <a:defRPr/>
            </a:pPr>
            <a:r>
              <a:rPr kumimoji="0" lang="cs-CZ" sz="1200" b="0" i="0" u="none" strike="noStrike" kern="1200" cap="none" spc="0" normalizeH="0" baseline="0" noProof="0" dirty="0">
                <a:ln>
                  <a:noFill/>
                </a:ln>
                <a:solidFill>
                  <a:srgbClr val="000000"/>
                </a:solidFill>
                <a:effectLst/>
                <a:uLnTx/>
                <a:uFillTx/>
                <a:latin typeface="Arial" pitchFamily="34" charset="0"/>
                <a:ea typeface="+mn-ea"/>
                <a:cs typeface="+mn-cs"/>
              </a:rPr>
              <a:t>Pozn.: U biomasy a bioplynu se počítá s dalším rozvojem zejména v sektorech výroby tepla a dopravy. Výroba elektřiny z těchto paliv ve srovnání s dneškem do roku 2030 dle národního energeticko-klimatického plánu dokonce mírně poklesne. </a:t>
            </a:r>
            <a:endParaRPr kumimoji="0" lang="cs-CZ" sz="1428"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3" name="Obdélník 2">
            <a:extLst>
              <a:ext uri="{FF2B5EF4-FFF2-40B4-BE49-F238E27FC236}">
                <a16:creationId xmlns:a16="http://schemas.microsoft.com/office/drawing/2014/main" id="{BB801792-AF2C-402A-938D-18B71EEE23E8}"/>
              </a:ext>
            </a:extLst>
          </p:cNvPr>
          <p:cNvSpPr/>
          <p:nvPr/>
        </p:nvSpPr>
        <p:spPr>
          <a:xfrm>
            <a:off x="4447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charset="0"/>
                <a:ea typeface="+mn-ea"/>
                <a:cs typeface="Arial" charset="0"/>
              </a:rPr>
              <a:t> </a:t>
            </a:r>
            <a:endParaRPr kumimoji="0" lang="cs-CZ" sz="1800" b="0" i="0" u="none" strike="noStrike" kern="1200" cap="none" spc="0" normalizeH="0" baseline="0" noProof="0" dirty="0">
              <a:ln>
                <a:noFill/>
              </a:ln>
              <a:solidFill>
                <a:srgbClr val="000000"/>
              </a:solidFill>
              <a:effectLst/>
              <a:uLnTx/>
              <a:uFillTx/>
              <a:latin typeface="Arial CE"/>
              <a:ea typeface="+mn-ea"/>
              <a:cs typeface="+mn-cs"/>
            </a:endParaRPr>
          </a:p>
        </p:txBody>
      </p:sp>
      <p:sp>
        <p:nvSpPr>
          <p:cNvPr id="13" name="Obdélník 12">
            <a:extLst>
              <a:ext uri="{FF2B5EF4-FFF2-40B4-BE49-F238E27FC236}">
                <a16:creationId xmlns:a16="http://schemas.microsoft.com/office/drawing/2014/main" id="{C9EF12B5-E28C-40EE-AA3C-042E07894B09}"/>
              </a:ext>
            </a:extLst>
          </p:cNvPr>
          <p:cNvSpPr/>
          <p:nvPr/>
        </p:nvSpPr>
        <p:spPr>
          <a:xfrm>
            <a:off x="4447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000000"/>
                </a:solidFill>
                <a:effectLst/>
                <a:uLnTx/>
                <a:uFillTx/>
                <a:latin typeface="Arial" charset="0"/>
                <a:ea typeface="+mn-ea"/>
                <a:cs typeface="Arial" charset="0"/>
              </a:rPr>
              <a:t> </a:t>
            </a:r>
            <a:endParaRPr kumimoji="0" lang="cs-CZ" sz="1800" b="0" i="0" u="none" strike="noStrike" kern="1200" cap="none" spc="0" normalizeH="0" baseline="0" noProof="0" dirty="0">
              <a:ln>
                <a:noFill/>
              </a:ln>
              <a:solidFill>
                <a:srgbClr val="000000"/>
              </a:solidFill>
              <a:effectLst/>
              <a:uLnTx/>
              <a:uFillTx/>
              <a:latin typeface="Arial CE"/>
              <a:ea typeface="+mn-ea"/>
              <a:cs typeface="+mn-cs"/>
            </a:endParaRPr>
          </a:p>
        </p:txBody>
      </p:sp>
    </p:spTree>
    <p:extLst>
      <p:ext uri="{BB962C8B-B14F-4D97-AF65-F5344CB8AC3E}">
        <p14:creationId xmlns:p14="http://schemas.microsoft.com/office/powerpoint/2010/main" val="424128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bdélník 33">
            <a:extLst>
              <a:ext uri="{FF2B5EF4-FFF2-40B4-BE49-F238E27FC236}">
                <a16:creationId xmlns:a16="http://schemas.microsoft.com/office/drawing/2014/main" id="{79CC648F-604A-41C7-B66F-60FF43D296E0}"/>
              </a:ext>
            </a:extLst>
          </p:cNvPr>
          <p:cNvSpPr/>
          <p:nvPr/>
        </p:nvSpPr>
        <p:spPr bwMode="auto">
          <a:xfrm>
            <a:off x="96524" y="1694288"/>
            <a:ext cx="6275676" cy="4645454"/>
          </a:xfrm>
          <a:prstGeom prst="rect">
            <a:avLst/>
          </a:prstGeom>
          <a:noFill/>
          <a:ln w="12700">
            <a:solidFill>
              <a:schemeClr val="tx1"/>
            </a:solid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CE"/>
              <a:ea typeface="+mn-ea"/>
              <a:cs typeface="+mn-cs"/>
            </a:endParaRPr>
          </a:p>
        </p:txBody>
      </p:sp>
      <p:sp>
        <p:nvSpPr>
          <p:cNvPr id="35" name="Nadpis 1">
            <a:extLst>
              <a:ext uri="{FF2B5EF4-FFF2-40B4-BE49-F238E27FC236}">
                <a16:creationId xmlns:a16="http://schemas.microsoft.com/office/drawing/2014/main" id="{7CFF1CA8-20CB-4417-BA53-566D2233858A}"/>
              </a:ext>
            </a:extLst>
          </p:cNvPr>
          <p:cNvSpPr>
            <a:spLocks noGrp="1"/>
          </p:cNvSpPr>
          <p:nvPr>
            <p:ph type="title"/>
          </p:nvPr>
        </p:nvSpPr>
        <p:spPr>
          <a:xfrm>
            <a:off x="504000" y="174046"/>
            <a:ext cx="6876000" cy="391389"/>
          </a:xfrm>
        </p:spPr>
        <p:txBody>
          <a:bodyPr/>
          <a:lstStyle/>
          <a:p>
            <a:r>
              <a:rPr lang="cs-CZ" dirty="0"/>
              <a:t>A finance taky …</a:t>
            </a:r>
          </a:p>
        </p:txBody>
      </p:sp>
      <p:sp>
        <p:nvSpPr>
          <p:cNvPr id="36" name="Zástupný symbol pro číslo snímku 3">
            <a:extLst>
              <a:ext uri="{FF2B5EF4-FFF2-40B4-BE49-F238E27FC236}">
                <a16:creationId xmlns:a16="http://schemas.microsoft.com/office/drawing/2014/main" id="{47F4033F-2C30-4D12-838E-7674C5E216E6}"/>
              </a:ext>
            </a:extLst>
          </p:cNvPr>
          <p:cNvSpPr>
            <a:spLocks noGrp="1"/>
          </p:cNvSpPr>
          <p:nvPr>
            <p:ph type="sldNum" sz="quarter" idx="10"/>
          </p:nvPr>
        </p:nvSpPr>
        <p:spPr>
          <a:xfrm>
            <a:off x="504000" y="6651374"/>
            <a:ext cx="311009" cy="155496"/>
          </a:xfrm>
        </p:spPr>
        <p:txBody>
          <a:bodyPr/>
          <a:lstStyle/>
          <a:p>
            <a:pPr marL="0" marR="0" lvl="0" indent="0" algn="l" defTabSz="895350" rtl="0" eaLnBrk="1" fontAlgn="base" latinLnBrk="0" hangingPunct="1">
              <a:lnSpc>
                <a:spcPct val="100000"/>
              </a:lnSpc>
              <a:spcBef>
                <a:spcPct val="0"/>
              </a:spcBef>
              <a:spcAft>
                <a:spcPct val="0"/>
              </a:spcAft>
              <a:buClrTx/>
              <a:buSzTx/>
              <a:buFontTx/>
              <a:buNone/>
              <a:tabLst/>
              <a:defRPr/>
            </a:pPr>
            <a:fld id="{569EC6D3-E5AC-407E-ABD5-BD9CA53279C2}" type="slidenum">
              <a:rPr kumimoji="0" lang="cs-CZ" sz="1000" b="1" i="0" u="none" strike="noStrike" kern="1200" cap="none" spc="0" normalizeH="0" baseline="0" noProof="0" smtClean="0">
                <a:ln>
                  <a:noFill/>
                </a:ln>
                <a:solidFill>
                  <a:srgbClr val="FFFFFF"/>
                </a:solidFill>
                <a:effectLst/>
                <a:uLnTx/>
                <a:uFillTx/>
                <a:latin typeface="Arial CE" panose="020B0604020202020204"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4</a:t>
            </a:fld>
            <a:endParaRPr kumimoji="0" lang="cs-CZ" sz="1000" b="1" i="0" u="none" strike="noStrike" kern="1200" cap="none" spc="0" normalizeH="0" baseline="0" noProof="0">
              <a:ln>
                <a:noFill/>
              </a:ln>
              <a:solidFill>
                <a:srgbClr val="FFFFFF"/>
              </a:solidFill>
              <a:effectLst/>
              <a:uLnTx/>
              <a:uFillTx/>
              <a:latin typeface="Arial CE" panose="020B0604020202020204" pitchFamily="34" charset="0"/>
              <a:ea typeface="+mn-ea"/>
              <a:cs typeface="Arial CE" panose="020B0604020202020204" pitchFamily="34" charset="0"/>
            </a:endParaRPr>
          </a:p>
        </p:txBody>
      </p:sp>
      <p:sp>
        <p:nvSpPr>
          <p:cNvPr id="37" name="Rovnoramenný trojúhelník 36">
            <a:extLst>
              <a:ext uri="{FF2B5EF4-FFF2-40B4-BE49-F238E27FC236}">
                <a16:creationId xmlns:a16="http://schemas.microsoft.com/office/drawing/2014/main" id="{3FFBFF6B-4C0E-43E2-9EBB-F52EC6A2FB4D}"/>
              </a:ext>
            </a:extLst>
          </p:cNvPr>
          <p:cNvSpPr/>
          <p:nvPr/>
        </p:nvSpPr>
        <p:spPr bwMode="auto">
          <a:xfrm rot="5400000">
            <a:off x="4184056" y="3929734"/>
            <a:ext cx="4645454" cy="174562"/>
          </a:xfrm>
          <a:prstGeom prst="triangle">
            <a:avLst/>
          </a:prstGeom>
          <a:solidFill>
            <a:schemeClr val="accent2"/>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endParaRPr kumimoji="0" lang="cs-CZ" sz="1428" b="0" i="1"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8" name="Legend4">
            <a:extLst>
              <a:ext uri="{FF2B5EF4-FFF2-40B4-BE49-F238E27FC236}">
                <a16:creationId xmlns:a16="http://schemas.microsoft.com/office/drawing/2014/main" id="{410AACC9-57FB-438A-A64C-2919085ECA37}"/>
              </a:ext>
            </a:extLst>
          </p:cNvPr>
          <p:cNvSpPr>
            <a:spLocks noChangeArrowheads="1"/>
          </p:cNvSpPr>
          <p:nvPr>
            <p:custDataLst>
              <p:tags r:id="rId1"/>
            </p:custDataLst>
          </p:nvPr>
        </p:nvSpPr>
        <p:spPr bwMode="auto">
          <a:xfrm>
            <a:off x="6641366" y="1694288"/>
            <a:ext cx="2448272" cy="4739439"/>
          </a:xfrm>
          <a:prstGeom prst="rect">
            <a:avLst/>
          </a:prstGeom>
          <a:solidFill>
            <a:schemeClr val="tx2">
              <a:lumMod val="85000"/>
            </a:schemeClr>
          </a:solidFill>
          <a:ln>
            <a:noFill/>
          </a:ln>
          <a:effec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Ambiciózní politické cíle a proklamace Green Dealu dostaly reálný finanční základ stovek miliard EUR</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kumimoji="0" lang="cs-CZ" altLang="cs-CZ" sz="1400" b="0" i="0" u="none" strike="noStrike" kern="1200" cap="none" spc="0" normalizeH="0" baseline="0" noProof="0" dirty="0">
                <a:ln>
                  <a:noFill/>
                </a:ln>
                <a:solidFill>
                  <a:srgbClr val="000000"/>
                </a:solidFill>
                <a:effectLst/>
                <a:uLnTx/>
                <a:uFillTx/>
                <a:latin typeface="Arial" charset="0"/>
                <a:ea typeface="+mn-ea"/>
                <a:cs typeface="+mn-cs"/>
              </a:rPr>
              <a:t>Velkou většinu dostupných prostředků </a:t>
            </a: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rozdělují</a:t>
            </a:r>
            <a:r>
              <a:rPr kumimoji="0" lang="cs-CZ" altLang="cs-CZ" sz="1400" b="0" i="0" u="none" strike="noStrike" kern="1200" cap="none" spc="0" normalizeH="0" baseline="0" noProof="0" dirty="0">
                <a:ln>
                  <a:noFill/>
                </a:ln>
                <a:solidFill>
                  <a:srgbClr val="000000"/>
                </a:solidFill>
                <a:effectLst/>
                <a:uLnTx/>
                <a:uFillTx/>
                <a:latin typeface="Arial" charset="0"/>
                <a:ea typeface="+mn-ea"/>
                <a:cs typeface="+mn-cs"/>
              </a:rPr>
              <a:t> </a:t>
            </a: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národní státy</a:t>
            </a:r>
            <a:r>
              <a:rPr kumimoji="0" lang="cs-CZ" altLang="cs-CZ" sz="1400" b="0" i="0" u="none" strike="noStrike" kern="1200" cap="none" spc="0" normalizeH="0" baseline="0" noProof="0" dirty="0">
                <a:ln>
                  <a:noFill/>
                </a:ln>
                <a:solidFill>
                  <a:srgbClr val="000000"/>
                </a:solidFill>
                <a:effectLst/>
                <a:uLnTx/>
                <a:uFillTx/>
                <a:latin typeface="Arial" charset="0"/>
                <a:ea typeface="+mn-ea"/>
                <a:cs typeface="+mn-cs"/>
              </a:rPr>
              <a:t>, které navíc implementují i potenciální navýšení klimatických cílů – reálné investiční příležitosti v ČR budou záviset na </a:t>
            </a: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národních prioritách</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kumimoji="0" lang="cs-CZ" sz="1400" b="1" i="0" u="none" strike="noStrike" kern="1200" cap="none" spc="0" normalizeH="0" baseline="0" noProof="0" dirty="0">
                <a:ln>
                  <a:noFill/>
                </a:ln>
                <a:solidFill>
                  <a:srgbClr val="000000"/>
                </a:solidFill>
                <a:effectLst/>
                <a:uLnTx/>
                <a:uFillTx/>
                <a:latin typeface="Arial" charset="0"/>
                <a:ea typeface="+mn-ea"/>
                <a:cs typeface="+mn-cs"/>
              </a:rPr>
              <a:t>Peníze</a:t>
            </a:r>
            <a:r>
              <a:rPr kumimoji="0" lang="cs-CZ" sz="1400" b="0" i="0" u="none" strike="noStrike" kern="1200" cap="none" spc="0" normalizeH="0" baseline="0" noProof="0" dirty="0">
                <a:ln>
                  <a:noFill/>
                </a:ln>
                <a:solidFill>
                  <a:srgbClr val="000000"/>
                </a:solidFill>
                <a:effectLst/>
                <a:uLnTx/>
                <a:uFillTx/>
                <a:latin typeface="Arial" charset="0"/>
                <a:ea typeface="+mn-ea"/>
                <a:cs typeface="+mn-cs"/>
              </a:rPr>
              <a:t> budou </a:t>
            </a:r>
            <a:r>
              <a:rPr kumimoji="0" lang="cs-CZ" sz="1400" b="1" i="0" u="none" strike="noStrike" kern="1200" cap="none" spc="0" normalizeH="0" baseline="0" noProof="0" dirty="0">
                <a:ln>
                  <a:noFill/>
                </a:ln>
                <a:solidFill>
                  <a:srgbClr val="000000"/>
                </a:solidFill>
                <a:effectLst/>
                <a:uLnTx/>
                <a:uFillTx/>
                <a:latin typeface="Arial" charset="0"/>
                <a:ea typeface="+mn-ea"/>
                <a:cs typeface="+mn-cs"/>
              </a:rPr>
              <a:t>k dispozici rychle</a:t>
            </a:r>
            <a:r>
              <a:rPr kumimoji="0" lang="cs-CZ" sz="1400" b="0" i="0" u="none" strike="noStrike" kern="1200" cap="none" spc="0" normalizeH="0" baseline="0" noProof="0" dirty="0">
                <a:ln>
                  <a:noFill/>
                </a:ln>
                <a:solidFill>
                  <a:srgbClr val="000000"/>
                </a:solidFill>
                <a:effectLst/>
                <a:uLnTx/>
                <a:uFillTx/>
                <a:latin typeface="Arial" charset="0"/>
                <a:ea typeface="+mn-ea"/>
                <a:cs typeface="+mn-cs"/>
              </a:rPr>
              <a:t>, u plánu obnovy je alokace jen do konce roku 2023 (platby do 2027)</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kumimoji="0" lang="cs-CZ" altLang="cs-CZ" sz="1400" b="0" i="0" u="none" strike="noStrike" kern="1200" cap="none" spc="0" normalizeH="0" baseline="0" noProof="0" dirty="0">
                <a:ln>
                  <a:noFill/>
                </a:ln>
                <a:solidFill>
                  <a:srgbClr val="000000"/>
                </a:solidFill>
                <a:effectLst/>
                <a:uLnTx/>
                <a:uFillTx/>
                <a:latin typeface="Arial" charset="0"/>
                <a:ea typeface="+mn-ea"/>
                <a:cs typeface="+mn-cs"/>
              </a:rPr>
              <a:t>Stát a průmysl potřebují rychle najít </a:t>
            </a: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shodu na investičních prioritách </a:t>
            </a:r>
            <a:r>
              <a:rPr kumimoji="0" lang="cs-CZ" altLang="cs-CZ" sz="1400" b="0" i="0" u="none" strike="noStrike" kern="1200" cap="none" spc="0" normalizeH="0" baseline="0" noProof="0" dirty="0">
                <a:ln>
                  <a:noFill/>
                </a:ln>
                <a:solidFill>
                  <a:srgbClr val="000000"/>
                </a:solidFill>
                <a:effectLst/>
                <a:uLnTx/>
                <a:uFillTx/>
                <a:latin typeface="Arial" charset="0"/>
                <a:ea typeface="+mn-ea"/>
                <a:cs typeface="+mn-cs"/>
              </a:rPr>
              <a:t>a</a:t>
            </a: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 začít s přípravou projektů</a:t>
            </a:r>
          </a:p>
        </p:txBody>
      </p:sp>
      <p:sp>
        <p:nvSpPr>
          <p:cNvPr id="39" name="Obdélník: se zakulacenými rohy 38">
            <a:extLst>
              <a:ext uri="{FF2B5EF4-FFF2-40B4-BE49-F238E27FC236}">
                <a16:creationId xmlns:a16="http://schemas.microsoft.com/office/drawing/2014/main" id="{1B26CDE7-166C-4A12-9960-4A278E12E474}"/>
              </a:ext>
            </a:extLst>
          </p:cNvPr>
          <p:cNvSpPr/>
          <p:nvPr/>
        </p:nvSpPr>
        <p:spPr bwMode="auto">
          <a:xfrm>
            <a:off x="182295" y="1872981"/>
            <a:ext cx="185367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EU rozpočet a balíček obnovy* </a:t>
            </a:r>
          </a:p>
        </p:txBody>
      </p:sp>
      <p:sp>
        <p:nvSpPr>
          <p:cNvPr id="40" name="Obdélník: se zakulacenými rohy 39">
            <a:extLst>
              <a:ext uri="{FF2B5EF4-FFF2-40B4-BE49-F238E27FC236}">
                <a16:creationId xmlns:a16="http://schemas.microsoft.com/office/drawing/2014/main" id="{20B89EAF-EA17-4182-980F-3C0C03E42F53}"/>
              </a:ext>
            </a:extLst>
          </p:cNvPr>
          <p:cNvSpPr/>
          <p:nvPr/>
        </p:nvSpPr>
        <p:spPr bwMode="auto">
          <a:xfrm>
            <a:off x="2305140" y="1872981"/>
            <a:ext cx="185367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EU ETS fondy, příjmy z povolenek</a:t>
            </a:r>
          </a:p>
        </p:txBody>
      </p:sp>
      <p:sp>
        <p:nvSpPr>
          <p:cNvPr id="41" name="Obdélník: se zakulacenými rohy 40">
            <a:extLst>
              <a:ext uri="{FF2B5EF4-FFF2-40B4-BE49-F238E27FC236}">
                <a16:creationId xmlns:a16="http://schemas.microsoft.com/office/drawing/2014/main" id="{2ED41550-1598-45D5-BB7F-BA8817EC4AD8}"/>
              </a:ext>
            </a:extLst>
          </p:cNvPr>
          <p:cNvSpPr/>
          <p:nvPr/>
        </p:nvSpPr>
        <p:spPr bwMode="auto">
          <a:xfrm>
            <a:off x="4427985" y="1872981"/>
            <a:ext cx="185367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err="1">
                <a:ln>
                  <a:noFill/>
                </a:ln>
                <a:solidFill>
                  <a:srgbClr val="000000"/>
                </a:solidFill>
                <a:effectLst/>
                <a:uLnTx/>
                <a:uFillTx/>
                <a:latin typeface="Arial" pitchFamily="34" charset="0"/>
                <a:ea typeface="+mn-ea"/>
                <a:cs typeface="+mn-cs"/>
              </a:rPr>
              <a:t>Sustainable</a:t>
            </a: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 Finance </a:t>
            </a:r>
          </a:p>
        </p:txBody>
      </p:sp>
      <p:sp>
        <p:nvSpPr>
          <p:cNvPr id="42" name="Legend4">
            <a:extLst>
              <a:ext uri="{FF2B5EF4-FFF2-40B4-BE49-F238E27FC236}">
                <a16:creationId xmlns:a16="http://schemas.microsoft.com/office/drawing/2014/main" id="{AF45E55A-2073-4CB3-B6DB-BF674D3BB0FC}"/>
              </a:ext>
            </a:extLst>
          </p:cNvPr>
          <p:cNvSpPr>
            <a:spLocks noChangeArrowheads="1"/>
          </p:cNvSpPr>
          <p:nvPr>
            <p:custDataLst>
              <p:tags r:id="rId2"/>
            </p:custDataLst>
          </p:nvPr>
        </p:nvSpPr>
        <p:spPr bwMode="auto">
          <a:xfrm>
            <a:off x="179512" y="2481129"/>
            <a:ext cx="1946265" cy="363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1 074 mld**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 750 mld EUR**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granty + půjčky)</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Minimálně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30%</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z těchto prostředků musí jít na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projekty spojené s klimatem,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žádné výdaje v rozporu s cíli Green Deal</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 </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Naprostá většina post- </a:t>
            </a:r>
            <a:r>
              <a:rPr kumimoji="0" lang="cs-CZ" altLang="cs-CZ" sz="1300" b="0" i="0" u="none" strike="noStrike" kern="1200" cap="none" spc="0" normalizeH="0" baseline="0" noProof="0" dirty="0" err="1">
                <a:ln>
                  <a:noFill/>
                </a:ln>
                <a:solidFill>
                  <a:srgbClr val="000000"/>
                </a:solidFill>
                <a:effectLst/>
                <a:uLnTx/>
                <a:uFillTx/>
                <a:latin typeface="Arial" charset="0"/>
                <a:ea typeface="+mn-ea"/>
                <a:cs typeface="+mn-cs"/>
              </a:rPr>
              <a:t>covid</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stimulu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672,5 mld</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pro národní státy na základě </a:t>
            </a:r>
            <a:r>
              <a:rPr kumimoji="0" lang="cs-CZ" altLang="cs-CZ" sz="1300" b="0" i="1" u="none" strike="noStrike" kern="1200" cap="none" spc="0" normalizeH="0" baseline="0" noProof="0" dirty="0">
                <a:ln>
                  <a:noFill/>
                </a:ln>
                <a:solidFill>
                  <a:srgbClr val="000000"/>
                </a:solidFill>
                <a:effectLst/>
                <a:uLnTx/>
                <a:uFillTx/>
                <a:latin typeface="Arial" charset="0"/>
                <a:ea typeface="+mn-ea"/>
                <a:cs typeface="+mn-cs"/>
              </a:rPr>
              <a:t>Plánu obnovy a odolnosti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v letech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2021-2023</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Další fondy v rámci rozpočtu (JTF, </a:t>
            </a:r>
            <a:r>
              <a:rPr kumimoji="0" lang="cs-CZ" altLang="cs-CZ" sz="1300" b="0" i="0" u="none" strike="noStrike" kern="1200" cap="none" spc="0" normalizeH="0" baseline="0" noProof="0" dirty="0" err="1">
                <a:ln>
                  <a:noFill/>
                </a:ln>
                <a:solidFill>
                  <a:srgbClr val="000000"/>
                </a:solidFill>
                <a:effectLst/>
                <a:uLnTx/>
                <a:uFillTx/>
                <a:latin typeface="Arial" charset="0"/>
                <a:ea typeface="+mn-ea"/>
                <a:cs typeface="+mn-cs"/>
              </a:rPr>
              <a:t>InvestEU</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a:t>
            </a:r>
          </a:p>
        </p:txBody>
      </p:sp>
      <p:sp>
        <p:nvSpPr>
          <p:cNvPr id="43" name="Obdélník 42">
            <a:extLst>
              <a:ext uri="{FF2B5EF4-FFF2-40B4-BE49-F238E27FC236}">
                <a16:creationId xmlns:a16="http://schemas.microsoft.com/office/drawing/2014/main" id="{8AB1F0AB-F61A-481B-AE2A-15F0E811ECDF}"/>
              </a:ext>
            </a:extLst>
          </p:cNvPr>
          <p:cNvSpPr/>
          <p:nvPr/>
        </p:nvSpPr>
        <p:spPr bwMode="auto">
          <a:xfrm>
            <a:off x="625741" y="6606249"/>
            <a:ext cx="7212818" cy="205821"/>
          </a:xfrm>
          <a:prstGeom prst="rect">
            <a:avLst/>
          </a:prstGeom>
          <a:no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050" b="0" i="0" u="none" strike="noStrike" kern="1200" cap="none" spc="0" normalizeH="0" baseline="0" noProof="0" dirty="0">
                <a:ln>
                  <a:noFill/>
                </a:ln>
                <a:solidFill>
                  <a:srgbClr val="FFFFFF"/>
                </a:solidFill>
                <a:effectLst/>
                <a:uLnTx/>
                <a:uFillTx/>
                <a:latin typeface="Arial" pitchFamily="34" charset="0"/>
                <a:ea typeface="+mn-ea"/>
                <a:cs typeface="+mn-cs"/>
              </a:rPr>
              <a:t>* tzv. Next Generation EU ** v cenách 2018</a:t>
            </a:r>
            <a:endParaRPr kumimoji="0" lang="cs-CZ" sz="14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44" name="Legend4">
            <a:extLst>
              <a:ext uri="{FF2B5EF4-FFF2-40B4-BE49-F238E27FC236}">
                <a16:creationId xmlns:a16="http://schemas.microsoft.com/office/drawing/2014/main" id="{E775FA5C-6E9E-4431-B855-60312B5FCAAD}"/>
              </a:ext>
            </a:extLst>
          </p:cNvPr>
          <p:cNvSpPr>
            <a:spLocks noChangeArrowheads="1"/>
          </p:cNvSpPr>
          <p:nvPr>
            <p:custDataLst>
              <p:tags r:id="rId3"/>
            </p:custDataLst>
          </p:nvPr>
        </p:nvSpPr>
        <p:spPr bwMode="auto">
          <a:xfrm>
            <a:off x="2321611" y="2481129"/>
            <a:ext cx="1910539" cy="363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Modernizační fond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v řádu desítek mld EUR (cca 5 mld EUR pro ČR) na OZE, účinnost, akumulaci,…</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Inovační fond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přes 11 mld EUR na EU úrovni na inovace v OZE, CCS, akumulaci a průmyslu</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Min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50% příjmů z aukcí EUA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určeno na výdaje na klima a energetiku</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Potenciální růst ceny EUA by znamenal další růst těchto zdrojů</a:t>
            </a:r>
          </a:p>
        </p:txBody>
      </p:sp>
      <p:sp>
        <p:nvSpPr>
          <p:cNvPr id="45" name="Legend4">
            <a:extLst>
              <a:ext uri="{FF2B5EF4-FFF2-40B4-BE49-F238E27FC236}">
                <a16:creationId xmlns:a16="http://schemas.microsoft.com/office/drawing/2014/main" id="{CF14A53C-7A8E-4CCC-B6A5-639B276A9FEE}"/>
              </a:ext>
            </a:extLst>
          </p:cNvPr>
          <p:cNvSpPr>
            <a:spLocks noChangeArrowheads="1"/>
          </p:cNvSpPr>
          <p:nvPr>
            <p:custDataLst>
              <p:tags r:id="rId4"/>
            </p:custDataLst>
          </p:nvPr>
        </p:nvSpPr>
        <p:spPr bwMode="auto">
          <a:xfrm>
            <a:off x="4427984" y="2467825"/>
            <a:ext cx="1853679" cy="4083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Regulace finančního trhu</a:t>
            </a:r>
          </a:p>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V první fázi dostanou technologie „nálepku“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udržitelná/ dočasná neudržitelná</a:t>
            </a:r>
          </a:p>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V další fázi motivace finančního trhu k </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preferování udržitelných projektů</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na úkor neudržitelných</a:t>
            </a:r>
          </a:p>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Zelené“ investice </a:t>
            </a:r>
            <a:r>
              <a:rPr kumimoji="0" lang="cs-CZ" altLang="cs-CZ" sz="1300" b="0" i="0" u="none" strike="noStrike" kern="1200" cap="none" spc="0" normalizeH="0" baseline="0" noProof="0" dirty="0" err="1">
                <a:ln>
                  <a:noFill/>
                </a:ln>
                <a:solidFill>
                  <a:srgbClr val="000000"/>
                </a:solidFill>
                <a:effectLst/>
                <a:uLnTx/>
                <a:uFillTx/>
                <a:latin typeface="Arial" charset="0"/>
                <a:ea typeface="+mn-ea"/>
                <a:cs typeface="+mn-cs"/>
              </a:rPr>
              <a:t>fin</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trhem preferovány</a:t>
            </a:r>
          </a:p>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Významná část bank/pojišťoven bere toto kritérium v úvahu již nyní</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endParaRPr kumimoji="0" lang="cs-CZ" altLang="cs-CZ"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23764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FABCD68-A86B-454C-B45D-B13BDD0B7F06}"/>
              </a:ext>
            </a:extLst>
          </p:cNvPr>
          <p:cNvSpPr>
            <a:spLocks noGrp="1"/>
          </p:cNvSpPr>
          <p:nvPr>
            <p:ph type="title"/>
          </p:nvPr>
        </p:nvSpPr>
        <p:spPr>
          <a:xfrm>
            <a:off x="504001" y="437652"/>
            <a:ext cx="6876000" cy="391389"/>
          </a:xfrm>
        </p:spPr>
        <p:txBody>
          <a:bodyPr/>
          <a:lstStyle/>
          <a:p>
            <a:r>
              <a:rPr lang="cs-CZ" dirty="0"/>
              <a:t>Jak Nové, Tak i tradiční</a:t>
            </a:r>
          </a:p>
        </p:txBody>
      </p:sp>
      <p:sp>
        <p:nvSpPr>
          <p:cNvPr id="4" name="Zástupný symbol pro číslo snímku 3">
            <a:extLst>
              <a:ext uri="{FF2B5EF4-FFF2-40B4-BE49-F238E27FC236}">
                <a16:creationId xmlns:a16="http://schemas.microsoft.com/office/drawing/2014/main" id="{47DC519B-3F03-4547-B9BF-E6C231057BDA}"/>
              </a:ext>
            </a:extLst>
          </p:cNvPr>
          <p:cNvSpPr>
            <a:spLocks noGrp="1"/>
          </p:cNvSpPr>
          <p:nvPr>
            <p:ph type="sldNum" sz="quarter" idx="10"/>
          </p:nvPr>
        </p:nvSpPr>
        <p:spPr/>
        <p:txBody>
          <a:bodyPr/>
          <a:lstStyle/>
          <a:p>
            <a:fld id="{569EC6D3-E5AC-407E-ABD5-BD9CA53279C2}" type="slidenum">
              <a:rPr lang="cs-CZ" smtClean="0"/>
              <a:pPr/>
              <a:t>5</a:t>
            </a:fld>
            <a:endParaRPr lang="cs-CZ"/>
          </a:p>
        </p:txBody>
      </p:sp>
      <p:sp>
        <p:nvSpPr>
          <p:cNvPr id="6" name="Obdélník 5">
            <a:extLst>
              <a:ext uri="{FF2B5EF4-FFF2-40B4-BE49-F238E27FC236}">
                <a16:creationId xmlns:a16="http://schemas.microsoft.com/office/drawing/2014/main" id="{9650FA27-8793-419D-BF9B-03FC5460C43C}"/>
              </a:ext>
            </a:extLst>
          </p:cNvPr>
          <p:cNvSpPr/>
          <p:nvPr/>
        </p:nvSpPr>
        <p:spPr bwMode="auto">
          <a:xfrm>
            <a:off x="96524" y="1694288"/>
            <a:ext cx="6275676" cy="4645454"/>
          </a:xfrm>
          <a:prstGeom prst="rect">
            <a:avLst/>
          </a:prstGeom>
          <a:noFill/>
          <a:ln w="12700">
            <a:solidFill>
              <a:schemeClr val="tx1"/>
            </a:solid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000000"/>
              </a:solidFill>
              <a:effectLst/>
              <a:uLnTx/>
              <a:uFillTx/>
              <a:latin typeface="Arial CE"/>
              <a:ea typeface="+mn-ea"/>
              <a:cs typeface="+mn-cs"/>
            </a:endParaRPr>
          </a:p>
        </p:txBody>
      </p:sp>
      <p:sp>
        <p:nvSpPr>
          <p:cNvPr id="7" name="Obdélník: se zakulacenými rohy 6">
            <a:extLst>
              <a:ext uri="{FF2B5EF4-FFF2-40B4-BE49-F238E27FC236}">
                <a16:creationId xmlns:a16="http://schemas.microsoft.com/office/drawing/2014/main" id="{A349D9E7-37C0-411C-974B-0ED473C55A42}"/>
              </a:ext>
            </a:extLst>
          </p:cNvPr>
          <p:cNvSpPr/>
          <p:nvPr/>
        </p:nvSpPr>
        <p:spPr bwMode="auto">
          <a:xfrm>
            <a:off x="182295" y="1872981"/>
            <a:ext cx="203230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Operační programy 2021 - 2027</a:t>
            </a:r>
          </a:p>
        </p:txBody>
      </p:sp>
      <p:sp>
        <p:nvSpPr>
          <p:cNvPr id="8" name="Obdélník: se zakulacenými rohy 7">
            <a:extLst>
              <a:ext uri="{FF2B5EF4-FFF2-40B4-BE49-F238E27FC236}">
                <a16:creationId xmlns:a16="http://schemas.microsoft.com/office/drawing/2014/main" id="{9320402F-4C1A-4CB7-BAD0-FF060152487C}"/>
              </a:ext>
            </a:extLst>
          </p:cNvPr>
          <p:cNvSpPr/>
          <p:nvPr/>
        </p:nvSpPr>
        <p:spPr bwMode="auto">
          <a:xfrm>
            <a:off x="2394455" y="1872981"/>
            <a:ext cx="185367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Fond spravedlivé transformace</a:t>
            </a:r>
          </a:p>
        </p:txBody>
      </p:sp>
      <p:sp>
        <p:nvSpPr>
          <p:cNvPr id="9" name="Obdélník: se zakulacenými rohy 8">
            <a:extLst>
              <a:ext uri="{FF2B5EF4-FFF2-40B4-BE49-F238E27FC236}">
                <a16:creationId xmlns:a16="http://schemas.microsoft.com/office/drawing/2014/main" id="{C318098C-9964-43EF-9A9B-02DCF56EB154}"/>
              </a:ext>
            </a:extLst>
          </p:cNvPr>
          <p:cNvSpPr/>
          <p:nvPr/>
        </p:nvSpPr>
        <p:spPr bwMode="auto">
          <a:xfrm>
            <a:off x="4427985" y="1872981"/>
            <a:ext cx="1853679" cy="552893"/>
          </a:xfrm>
          <a:prstGeom prst="roundRect">
            <a:avLst/>
          </a:prstGeom>
          <a:solidFill>
            <a:srgbClr val="FFC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400" b="1" i="0" u="none" strike="noStrike" kern="1200" cap="none" spc="0" normalizeH="0" baseline="0" noProof="0" dirty="0">
                <a:ln>
                  <a:noFill/>
                </a:ln>
                <a:solidFill>
                  <a:srgbClr val="000000"/>
                </a:solidFill>
                <a:effectLst/>
                <a:uLnTx/>
                <a:uFillTx/>
                <a:latin typeface="Arial" pitchFamily="34" charset="0"/>
                <a:ea typeface="+mn-ea"/>
                <a:cs typeface="+mn-cs"/>
              </a:rPr>
              <a:t>Národní plán obnovy</a:t>
            </a:r>
          </a:p>
        </p:txBody>
      </p:sp>
      <p:sp>
        <p:nvSpPr>
          <p:cNvPr id="10" name="Legend4">
            <a:extLst>
              <a:ext uri="{FF2B5EF4-FFF2-40B4-BE49-F238E27FC236}">
                <a16:creationId xmlns:a16="http://schemas.microsoft.com/office/drawing/2014/main" id="{6988CF40-A6F7-495F-AD30-DAA71B5A9CE3}"/>
              </a:ext>
            </a:extLst>
          </p:cNvPr>
          <p:cNvSpPr>
            <a:spLocks noChangeArrowheads="1"/>
          </p:cNvSpPr>
          <p:nvPr>
            <p:custDataLst>
              <p:tags r:id="rId1"/>
            </p:custDataLst>
          </p:nvPr>
        </p:nvSpPr>
        <p:spPr bwMode="auto">
          <a:xfrm>
            <a:off x="179512" y="2481129"/>
            <a:ext cx="1946265" cy="3508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lang="cs-CZ" altLang="cs-CZ" sz="1300" i="0" dirty="0">
                <a:solidFill>
                  <a:srgbClr val="000000"/>
                </a:solidFill>
              </a:rPr>
              <a:t>až 550</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 mld. Kč</a:t>
            </a:r>
            <a:r>
              <a:rPr kumimoji="0" lang="en-US" altLang="cs-CZ" sz="1300" b="1" i="0" u="none" strike="noStrike" kern="1200" cap="none" spc="0" normalizeH="0" baseline="0" noProof="0" dirty="0">
                <a:ln>
                  <a:noFill/>
                </a:ln>
                <a:solidFill>
                  <a:srgbClr val="000000"/>
                </a:solidFill>
                <a:effectLst/>
                <a:uLnTx/>
                <a:uFillTx/>
                <a:latin typeface="Arial" charset="0"/>
                <a:ea typeface="+mn-ea"/>
                <a:cs typeface="+mn-cs"/>
              </a:rPr>
              <a:t>*</a:t>
            </a:r>
            <a:r>
              <a:rPr kumimoji="0" lang="cs-CZ" altLang="cs-CZ" sz="1300" b="1" i="0" u="none" strike="noStrike" kern="1200" cap="none" spc="0" normalizeH="0" baseline="0" noProof="0" dirty="0">
                <a:ln>
                  <a:noFill/>
                </a:ln>
                <a:solidFill>
                  <a:srgbClr val="000000"/>
                </a:solidFill>
                <a:effectLst/>
                <a:uLnTx/>
                <a:uFillTx/>
                <a:latin typeface="Arial" charset="0"/>
                <a:ea typeface="+mn-ea"/>
                <a:cs typeface="+mn-cs"/>
              </a:rPr>
              <a:t>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granty + půjčky) </a:t>
            </a: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pro ČR</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zejména programy implementující podporu z EFRR a FS</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lang="cs-CZ" altLang="cs-CZ" sz="1300" i="0" dirty="0">
                <a:solidFill>
                  <a:srgbClr val="000000"/>
                </a:solidFill>
              </a:rPr>
              <a:t>OP TAK</a:t>
            </a:r>
            <a:r>
              <a:rPr lang="cs-CZ" altLang="cs-CZ" sz="1300" b="0" i="0" dirty="0">
                <a:solidFill>
                  <a:srgbClr val="000000"/>
                </a:solidFill>
              </a:rPr>
              <a:t> (SC 3.2 </a:t>
            </a:r>
            <a:r>
              <a:rPr lang="cs-CZ" altLang="cs-CZ" sz="1300" b="0" dirty="0">
                <a:solidFill>
                  <a:srgbClr val="000000"/>
                </a:solidFill>
              </a:rPr>
              <a:t>Podpora energie z OZE) </a:t>
            </a:r>
            <a:r>
              <a:rPr lang="cs-CZ" altLang="cs-CZ" sz="1300" b="0" i="0" dirty="0">
                <a:solidFill>
                  <a:srgbClr val="000000"/>
                </a:solidFill>
              </a:rPr>
              <a:t>pro podnikatele</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OP ŽP</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SC </a:t>
            </a:r>
            <a:r>
              <a:rPr kumimoji="0" lang="cs-CZ" altLang="cs-CZ" sz="1300" b="0" u="none" strike="noStrike" kern="1200" cap="none" spc="0" normalizeH="0" baseline="0" noProof="0" dirty="0">
                <a:ln>
                  <a:noFill/>
                </a:ln>
                <a:solidFill>
                  <a:srgbClr val="000000"/>
                </a:solidFill>
                <a:effectLst/>
                <a:uLnTx/>
                <a:uFillTx/>
                <a:latin typeface="Arial" charset="0"/>
                <a:ea typeface="+mn-ea"/>
                <a:cs typeface="+mn-cs"/>
              </a:rPr>
              <a:t>Podpora energie z OZE</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pro veřejné subjekty (obce, kraje, stát)</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Pokračování </a:t>
            </a: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NZÚ</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Zdroje energie pro rodinné a bytové domy) pro domácnosti</a:t>
            </a:r>
            <a:endParaRPr kumimoji="0" lang="cs-CZ" altLang="cs-CZ" sz="130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Legend4">
            <a:extLst>
              <a:ext uri="{FF2B5EF4-FFF2-40B4-BE49-F238E27FC236}">
                <a16:creationId xmlns:a16="http://schemas.microsoft.com/office/drawing/2014/main" id="{E8CBD582-915A-4E8F-8974-6C8FCC43754C}"/>
              </a:ext>
            </a:extLst>
          </p:cNvPr>
          <p:cNvSpPr>
            <a:spLocks noChangeArrowheads="1"/>
          </p:cNvSpPr>
          <p:nvPr>
            <p:custDataLst>
              <p:tags r:id="rId2"/>
            </p:custDataLst>
          </p:nvPr>
        </p:nvSpPr>
        <p:spPr bwMode="auto">
          <a:xfrm>
            <a:off x="2321611" y="2481129"/>
            <a:ext cx="1910539" cy="390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lvl="0" algn="l" eaLnBrk="1" hangingPunct="1">
              <a:spcBef>
                <a:spcPts val="600"/>
              </a:spcBef>
              <a:spcAft>
                <a:spcPts val="0"/>
              </a:spcAft>
              <a:buClr>
                <a:srgbClr val="F24F00"/>
              </a:buClr>
              <a:buSzPct val="120000"/>
              <a:buFont typeface="Wingdings" pitchFamily="2" charset="2"/>
              <a:buChar char="§"/>
              <a:defRPr/>
            </a:pP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40 mld. Kč </a:t>
            </a:r>
            <a:r>
              <a:rPr lang="cs-CZ" altLang="cs-CZ" sz="1300" b="0" i="0" dirty="0">
                <a:solidFill>
                  <a:srgbClr val="000000"/>
                </a:solidFill>
              </a:rPr>
              <a:t>(granty) </a:t>
            </a:r>
            <a:r>
              <a:rPr lang="cs-CZ" altLang="cs-CZ" sz="1300" i="0" dirty="0">
                <a:solidFill>
                  <a:srgbClr val="000000"/>
                </a:solidFill>
              </a:rPr>
              <a:t>pro ČR </a:t>
            </a:r>
            <a:r>
              <a:rPr lang="cs-CZ" altLang="cs-CZ" sz="1300" b="0" i="0" dirty="0">
                <a:solidFill>
                  <a:srgbClr val="000000"/>
                </a:solidFill>
              </a:rPr>
              <a:t>pro 2021 – 2027 </a:t>
            </a:r>
            <a:endParaRPr kumimoji="0" lang="cs-CZ" altLang="cs-CZ" sz="1300" b="0" i="0" u="none" strike="noStrike" kern="1200" cap="none" spc="0" normalizeH="0" baseline="0" noProof="0" dirty="0">
              <a:ln>
                <a:noFill/>
              </a:ln>
              <a:solidFill>
                <a:srgbClr val="000000"/>
              </a:solidFill>
              <a:effectLst/>
              <a:uLnTx/>
              <a:uFillTx/>
              <a:latin typeface="Arial" charset="0"/>
              <a:ea typeface="+mn-ea"/>
              <a:cs typeface="+mn-cs"/>
            </a:endParaRP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lang="cs-CZ" altLang="cs-CZ" sz="1300" b="0" i="0" dirty="0">
                <a:solidFill>
                  <a:srgbClr val="000000"/>
                </a:solidFill>
              </a:rPr>
              <a:t>Podmínkou schválení </a:t>
            </a:r>
            <a:r>
              <a:rPr lang="cs-CZ" altLang="cs-CZ" sz="1300" i="0" dirty="0">
                <a:solidFill>
                  <a:srgbClr val="000000"/>
                </a:solidFill>
              </a:rPr>
              <a:t>Plánu spravedlivé územní transformace</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I. pilíř Mechanismu spravedlivé transformace</a:t>
            </a:r>
          </a:p>
          <a:p>
            <a:pPr lvl="0" algn="l" eaLnBrk="1" hangingPunct="1">
              <a:spcBef>
                <a:spcPts val="600"/>
              </a:spcBef>
              <a:spcAft>
                <a:spcPts val="0"/>
              </a:spcAft>
              <a:buClr>
                <a:srgbClr val="F24F00"/>
              </a:buClr>
              <a:buSzPct val="120000"/>
              <a:buFont typeface="Wingdings" pitchFamily="2" charset="2"/>
              <a:buChar char="§"/>
              <a:defRPr/>
            </a:pPr>
            <a:r>
              <a:rPr lang="cs-CZ" altLang="cs-CZ" sz="1300" b="0" i="0" dirty="0">
                <a:solidFill>
                  <a:srgbClr val="000000"/>
                </a:solidFill>
              </a:rPr>
              <a:t>Pro podporu OZE bude stěžejní cíl </a:t>
            </a:r>
            <a:r>
              <a:rPr lang="cs-CZ" altLang="cs-CZ" sz="1300" i="0" dirty="0">
                <a:solidFill>
                  <a:srgbClr val="000000"/>
                </a:solidFill>
              </a:rPr>
              <a:t>Investice do nízkouhlíkové ekonomiky, dekontaminace, revitalizace a do oběhového hospodářství</a:t>
            </a: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endParaRPr kumimoji="0" lang="cs-CZ" altLang="cs-CZ"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Legend4">
            <a:extLst>
              <a:ext uri="{FF2B5EF4-FFF2-40B4-BE49-F238E27FC236}">
                <a16:creationId xmlns:a16="http://schemas.microsoft.com/office/drawing/2014/main" id="{CB877FF7-4AB7-4A90-AD06-C3F888CF1CEA}"/>
              </a:ext>
            </a:extLst>
          </p:cNvPr>
          <p:cNvSpPr>
            <a:spLocks noChangeArrowheads="1"/>
          </p:cNvSpPr>
          <p:nvPr>
            <p:custDataLst>
              <p:tags r:id="rId3"/>
            </p:custDataLst>
          </p:nvPr>
        </p:nvSpPr>
        <p:spPr bwMode="auto">
          <a:xfrm>
            <a:off x="4427984" y="2467825"/>
            <a:ext cx="1853679" cy="4108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177800" marR="0" lvl="0" indent="-177800" algn="l" defTabSz="914400" rtl="0" eaLnBrk="1" fontAlgn="base" latinLnBrk="0" hangingPunct="1">
              <a:lnSpc>
                <a:spcPct val="100000"/>
              </a:lnSpc>
              <a:spcBef>
                <a:spcPts val="400"/>
              </a:spcBef>
              <a:spcAft>
                <a:spcPts val="0"/>
              </a:spcAft>
              <a:buClr>
                <a:srgbClr val="F24F00"/>
              </a:buClr>
              <a:buSzPct val="120000"/>
              <a:buFont typeface="Wingdings" pitchFamily="2" charset="2"/>
              <a:buChar char="§"/>
              <a:tabLst/>
              <a:defRPr/>
            </a:pP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182 mld. Kč </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granty) </a:t>
            </a:r>
            <a:r>
              <a:rPr kumimoji="0" lang="cs-CZ" altLang="cs-CZ" sz="1300" i="0" u="none" strike="noStrike" kern="1200" cap="none" spc="0" normalizeH="0" baseline="0" noProof="0" dirty="0">
                <a:ln>
                  <a:noFill/>
                </a:ln>
                <a:solidFill>
                  <a:srgbClr val="000000"/>
                </a:solidFill>
                <a:effectLst/>
                <a:uLnTx/>
                <a:uFillTx/>
                <a:latin typeface="Arial" charset="0"/>
                <a:ea typeface="+mn-ea"/>
                <a:cs typeface="+mn-cs"/>
              </a:rPr>
              <a:t>pro ČR</a:t>
            </a: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 do 2023</a:t>
            </a:r>
            <a:endParaRPr kumimoji="0" lang="cs-CZ" altLang="cs-CZ" sz="1300" i="0" u="none" strike="noStrike" kern="1200" cap="none" spc="0" normalizeH="0" baseline="0" noProof="0" dirty="0">
              <a:ln>
                <a:noFill/>
              </a:ln>
              <a:solidFill>
                <a:srgbClr val="000000"/>
              </a:solidFill>
              <a:effectLst/>
              <a:uLnTx/>
              <a:uFillTx/>
              <a:latin typeface="Arial" charset="0"/>
              <a:ea typeface="+mn-ea"/>
              <a:cs typeface="+mn-cs"/>
            </a:endParaRP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r>
              <a:rPr kumimoji="0" lang="cs-CZ" altLang="cs-CZ" sz="1300" b="0" i="0" u="none" strike="noStrike" kern="1200" cap="none" spc="0" normalizeH="0" baseline="0" noProof="0" dirty="0">
                <a:ln>
                  <a:noFill/>
                </a:ln>
                <a:solidFill>
                  <a:srgbClr val="000000"/>
                </a:solidFill>
                <a:effectLst/>
                <a:uLnTx/>
                <a:uFillTx/>
                <a:latin typeface="Arial" charset="0"/>
                <a:ea typeface="+mn-ea"/>
                <a:cs typeface="+mn-cs"/>
              </a:rPr>
              <a:t>Další část alokace bude schválena do 06/2022 pro 2023 – 2026</a:t>
            </a:r>
          </a:p>
          <a:p>
            <a:pPr lvl="0" algn="l" eaLnBrk="1" hangingPunct="1">
              <a:spcBef>
                <a:spcPts val="600"/>
              </a:spcBef>
              <a:spcAft>
                <a:spcPts val="0"/>
              </a:spcAft>
              <a:buClr>
                <a:srgbClr val="F24F00"/>
              </a:buClr>
              <a:buSzPct val="120000"/>
              <a:buFont typeface="Wingdings" pitchFamily="2" charset="2"/>
              <a:buChar char="§"/>
              <a:defRPr/>
            </a:pPr>
            <a:r>
              <a:rPr lang="cs-CZ" altLang="cs-CZ" sz="1300" b="0" i="0" dirty="0">
                <a:solidFill>
                  <a:srgbClr val="000000"/>
                </a:solidFill>
              </a:rPr>
              <a:t>Podmínkou schválení </a:t>
            </a:r>
            <a:r>
              <a:rPr lang="cs-CZ" altLang="cs-CZ" sz="1300" i="0" dirty="0">
                <a:solidFill>
                  <a:srgbClr val="000000"/>
                </a:solidFill>
              </a:rPr>
              <a:t>Národního plánu obnovy</a:t>
            </a:r>
          </a:p>
          <a:p>
            <a:pPr lvl="0" algn="l" eaLnBrk="1" hangingPunct="1">
              <a:spcBef>
                <a:spcPts val="600"/>
              </a:spcBef>
              <a:spcAft>
                <a:spcPts val="0"/>
              </a:spcAft>
              <a:buClr>
                <a:srgbClr val="F24F00"/>
              </a:buClr>
              <a:buSzPct val="120000"/>
              <a:buFont typeface="Wingdings" pitchFamily="2" charset="2"/>
              <a:buChar char="§"/>
              <a:defRPr/>
            </a:pPr>
            <a:r>
              <a:rPr lang="cs-CZ" altLang="cs-CZ" sz="1300" b="0" i="0" dirty="0">
                <a:solidFill>
                  <a:srgbClr val="000000"/>
                </a:solidFill>
              </a:rPr>
              <a:t>Pro podporu OZE je stěžejní komponenta 2.3 </a:t>
            </a:r>
            <a:r>
              <a:rPr lang="cs-CZ" altLang="cs-CZ" sz="1300" b="0" dirty="0">
                <a:solidFill>
                  <a:srgbClr val="000000"/>
                </a:solidFill>
              </a:rPr>
              <a:t>Transformace průmyslu a přechod na čistší zdroje energie</a:t>
            </a:r>
            <a:r>
              <a:rPr lang="cs-CZ" altLang="cs-CZ" sz="1300" b="0" i="0" dirty="0">
                <a:solidFill>
                  <a:srgbClr val="000000"/>
                </a:solidFill>
              </a:rPr>
              <a:t>) s předpokládanou alokací 3,66 mld. Kč pro nové OZE</a:t>
            </a:r>
            <a:endParaRPr kumimoji="0" lang="cs-CZ" altLang="cs-CZ" sz="1300" b="0" i="0" u="none" strike="noStrike" kern="1200" cap="none" spc="0" normalizeH="0" baseline="0" noProof="0" dirty="0">
              <a:ln>
                <a:noFill/>
              </a:ln>
              <a:solidFill>
                <a:srgbClr val="000000"/>
              </a:solidFill>
              <a:effectLst/>
              <a:uLnTx/>
              <a:uFillTx/>
              <a:latin typeface="Arial" charset="0"/>
              <a:ea typeface="+mn-ea"/>
              <a:cs typeface="+mn-cs"/>
            </a:endParaRPr>
          </a:p>
          <a:p>
            <a:pPr marL="177800" marR="0" lvl="0" indent="-177800" algn="l" defTabSz="914400" rtl="0" eaLnBrk="1" fontAlgn="base" latinLnBrk="0" hangingPunct="1">
              <a:lnSpc>
                <a:spcPct val="100000"/>
              </a:lnSpc>
              <a:spcBef>
                <a:spcPts val="600"/>
              </a:spcBef>
              <a:spcAft>
                <a:spcPts val="0"/>
              </a:spcAft>
              <a:buClr>
                <a:srgbClr val="F24F00"/>
              </a:buClr>
              <a:buSzPct val="120000"/>
              <a:buFont typeface="Wingdings" pitchFamily="2" charset="2"/>
              <a:buChar char="§"/>
              <a:tabLst/>
              <a:defRPr/>
            </a:pPr>
            <a:endParaRPr kumimoji="0" lang="cs-CZ" altLang="cs-CZ"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0" name="Obdélník 19">
            <a:extLst>
              <a:ext uri="{FF2B5EF4-FFF2-40B4-BE49-F238E27FC236}">
                <a16:creationId xmlns:a16="http://schemas.microsoft.com/office/drawing/2014/main" id="{5B5D013B-54C3-4A69-BF52-885BF86FE092}"/>
              </a:ext>
            </a:extLst>
          </p:cNvPr>
          <p:cNvSpPr/>
          <p:nvPr/>
        </p:nvSpPr>
        <p:spPr bwMode="auto">
          <a:xfrm>
            <a:off x="635072" y="6606249"/>
            <a:ext cx="7212818" cy="205821"/>
          </a:xfrm>
          <a:prstGeom prst="rect">
            <a:avLst/>
          </a:prstGeom>
          <a:no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r>
              <a:rPr kumimoji="0" lang="cs-CZ" sz="1050" b="0" i="0" u="none" strike="noStrike" kern="1200" cap="none" spc="0" normalizeH="0" baseline="0" noProof="0" dirty="0">
                <a:ln>
                  <a:noFill/>
                </a:ln>
                <a:solidFill>
                  <a:srgbClr val="FFFFFF"/>
                </a:solidFill>
                <a:effectLst/>
                <a:uLnTx/>
                <a:uFillTx/>
                <a:latin typeface="Arial" pitchFamily="34" charset="0"/>
                <a:ea typeface="+mn-ea"/>
                <a:cs typeface="+mn-cs"/>
              </a:rPr>
              <a:t>* Konkrétní výše bude upřesněna po schválení všech programových dokumentů</a:t>
            </a:r>
            <a:endParaRPr kumimoji="0" lang="cs-CZ" sz="14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21" name="Rovnoramenný trojúhelník 20">
            <a:extLst>
              <a:ext uri="{FF2B5EF4-FFF2-40B4-BE49-F238E27FC236}">
                <a16:creationId xmlns:a16="http://schemas.microsoft.com/office/drawing/2014/main" id="{23E4CC63-2DC1-4368-8A1A-61EB16D25D44}"/>
              </a:ext>
            </a:extLst>
          </p:cNvPr>
          <p:cNvSpPr/>
          <p:nvPr/>
        </p:nvSpPr>
        <p:spPr bwMode="auto">
          <a:xfrm rot="5400000">
            <a:off x="4174166" y="3945875"/>
            <a:ext cx="4635143" cy="152592"/>
          </a:xfrm>
          <a:prstGeom prst="triangle">
            <a:avLst/>
          </a:prstGeom>
          <a:solidFill>
            <a:schemeClr val="accent2"/>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
                <a:srgbClr val="F24F00"/>
              </a:buClr>
              <a:buSzTx/>
              <a:buFont typeface="Wingdings" pitchFamily="2" charset="2"/>
              <a:buNone/>
              <a:tabLst/>
              <a:defRPr/>
            </a:pPr>
            <a:endParaRPr kumimoji="0" lang="cs-CZ" sz="1428" b="0" i="1"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23" name="Legend4">
            <a:extLst>
              <a:ext uri="{FF2B5EF4-FFF2-40B4-BE49-F238E27FC236}">
                <a16:creationId xmlns:a16="http://schemas.microsoft.com/office/drawing/2014/main" id="{789AFEF8-34D9-4178-A118-E45E28755BE8}"/>
              </a:ext>
            </a:extLst>
          </p:cNvPr>
          <p:cNvSpPr>
            <a:spLocks noChangeArrowheads="1"/>
          </p:cNvSpPr>
          <p:nvPr>
            <p:custDataLst>
              <p:tags r:id="rId4"/>
            </p:custDataLst>
          </p:nvPr>
        </p:nvSpPr>
        <p:spPr bwMode="auto">
          <a:xfrm>
            <a:off x="6623754" y="2022783"/>
            <a:ext cx="2448272" cy="3988464"/>
          </a:xfrm>
          <a:prstGeom prst="rect">
            <a:avLst/>
          </a:prstGeom>
          <a:solidFill>
            <a:schemeClr val="tx2">
              <a:lumMod val="85000"/>
            </a:schemeClr>
          </a:solidFill>
          <a:ln>
            <a:noFill/>
          </a:ln>
          <a:effectLst/>
        </p:spPr>
        <p:txBody>
          <a:bodyPr wrap="square" lIns="0" tIns="0" rIns="0" bIns="0">
            <a:spAutoFit/>
          </a:bodyPr>
          <a:lstStyle>
            <a:lvl1pPr marL="177800" indent="-177800">
              <a:defRPr sz="1400" b="1">
                <a:solidFill>
                  <a:schemeClr val="tx1"/>
                </a:solidFill>
                <a:latin typeface="Arial" charset="0"/>
              </a:defRPr>
            </a:lvl1pPr>
            <a:lvl2pPr marL="742950" indent="-285750">
              <a:defRPr sz="1400" b="1">
                <a:solidFill>
                  <a:schemeClr val="tx1"/>
                </a:solidFill>
                <a:latin typeface="Arial" charset="0"/>
              </a:defRPr>
            </a:lvl2pPr>
            <a:lvl3pPr marL="1143000" indent="-228600">
              <a:defRPr sz="1400" b="1">
                <a:solidFill>
                  <a:schemeClr val="tx1"/>
                </a:solidFill>
                <a:latin typeface="Arial" charset="0"/>
              </a:defRPr>
            </a:lvl3pPr>
            <a:lvl4pPr marL="1600200" indent="-228600">
              <a:defRPr sz="1400" b="1">
                <a:solidFill>
                  <a:schemeClr val="tx1"/>
                </a:solidFill>
                <a:latin typeface="Arial" charset="0"/>
              </a:defRPr>
            </a:lvl4pPr>
            <a:lvl5pPr marL="2057400" indent="-22860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marL="0" marR="0" lvl="0" indent="0" algn="l" defTabSz="914400" rtl="0" eaLnBrk="1" fontAlgn="base" latinLnBrk="0" hangingPunct="1">
              <a:lnSpc>
                <a:spcPct val="105000"/>
              </a:lnSpc>
              <a:spcBef>
                <a:spcPts val="0"/>
              </a:spcBef>
              <a:spcAft>
                <a:spcPts val="600"/>
              </a:spcAft>
              <a:buClr>
                <a:srgbClr val="F24F00"/>
              </a:buClr>
              <a:buSzPct val="120000"/>
              <a:tabLst/>
              <a:defRPr/>
            </a:pPr>
            <a:r>
              <a:rPr kumimoji="0" lang="cs-CZ" altLang="cs-CZ" sz="1400" b="1" i="0" u="none" strike="noStrike" kern="1200" cap="none" spc="0" normalizeH="0" baseline="0" noProof="0" dirty="0">
                <a:ln>
                  <a:noFill/>
                </a:ln>
                <a:solidFill>
                  <a:srgbClr val="000000"/>
                </a:solidFill>
                <a:effectLst/>
                <a:uLnTx/>
                <a:uFillTx/>
                <a:latin typeface="Arial" charset="0"/>
                <a:ea typeface="+mn-ea"/>
                <a:cs typeface="+mn-cs"/>
              </a:rPr>
              <a:t>Z pohledu sektoru elektroenergetiky bude v období 2021 - 2027 stěžejní:</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lang="cs-CZ" altLang="cs-CZ" b="0" i="0" dirty="0">
                <a:solidFill>
                  <a:srgbClr val="000000"/>
                </a:solidFill>
              </a:rPr>
              <a:t>zajištění alespoň částečné alokace investiční podpory pro </a:t>
            </a:r>
            <a:r>
              <a:rPr lang="cs-CZ" altLang="cs-CZ" i="0" dirty="0">
                <a:solidFill>
                  <a:srgbClr val="000000"/>
                </a:solidFill>
              </a:rPr>
              <a:t>velké podniky</a:t>
            </a:r>
            <a:endParaRPr kumimoji="0" lang="cs-CZ" altLang="cs-CZ" sz="1400" i="0" u="none" strike="noStrike" kern="1200" cap="none" spc="0" normalizeH="0" baseline="0" noProof="0" dirty="0">
              <a:ln>
                <a:noFill/>
              </a:ln>
              <a:solidFill>
                <a:srgbClr val="000000"/>
              </a:solidFill>
              <a:effectLst/>
              <a:uLnTx/>
              <a:uFillTx/>
              <a:latin typeface="Arial" charset="0"/>
              <a:ea typeface="+mn-ea"/>
              <a:cs typeface="+mn-cs"/>
            </a:endParaRP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lang="cs-CZ" b="0" i="0" dirty="0">
                <a:solidFill>
                  <a:srgbClr val="000000"/>
                </a:solidFill>
              </a:rPr>
              <a:t>využití moderních způsobů smluvního zajištění (EPC)</a:t>
            </a:r>
            <a:endParaRPr kumimoji="0" lang="cs-CZ" sz="1400" b="0" i="0" u="none" strike="noStrike" kern="1200" cap="none" spc="0" normalizeH="0" baseline="0" noProof="0" dirty="0">
              <a:ln>
                <a:noFill/>
              </a:ln>
              <a:solidFill>
                <a:srgbClr val="000000"/>
              </a:solidFill>
              <a:effectLst/>
              <a:uLnTx/>
              <a:uFillTx/>
              <a:latin typeface="Arial" charset="0"/>
              <a:ea typeface="+mn-ea"/>
              <a:cs typeface="+mn-cs"/>
            </a:endParaRP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lang="cs-CZ" altLang="cs-CZ" b="0" i="0" dirty="0">
                <a:solidFill>
                  <a:srgbClr val="000000"/>
                </a:solidFill>
              </a:rPr>
              <a:t>rozumná investiční podpora pro </a:t>
            </a:r>
            <a:r>
              <a:rPr lang="cs-CZ" altLang="cs-CZ" i="0" dirty="0">
                <a:solidFill>
                  <a:srgbClr val="000000"/>
                </a:solidFill>
              </a:rPr>
              <a:t>nové výrobny FVE nejen pro vlastní spotřebu energie</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lang="cs-CZ" altLang="cs-CZ" b="0" i="0" dirty="0">
                <a:solidFill>
                  <a:srgbClr val="000000"/>
                </a:solidFill>
              </a:rPr>
              <a:t>širší podpora pro </a:t>
            </a:r>
            <a:r>
              <a:rPr lang="cs-CZ" altLang="cs-CZ" i="0" dirty="0">
                <a:solidFill>
                  <a:srgbClr val="000000"/>
                </a:solidFill>
              </a:rPr>
              <a:t>akumulaci energie </a:t>
            </a:r>
          </a:p>
          <a:p>
            <a:pPr marL="177800" marR="0" lvl="0" indent="-177800" algn="l" defTabSz="914400" rtl="0" eaLnBrk="1" fontAlgn="base" latinLnBrk="0" hangingPunct="1">
              <a:lnSpc>
                <a:spcPct val="105000"/>
              </a:lnSpc>
              <a:spcBef>
                <a:spcPts val="0"/>
              </a:spcBef>
              <a:spcAft>
                <a:spcPts val="600"/>
              </a:spcAft>
              <a:buClr>
                <a:srgbClr val="F24F00"/>
              </a:buClr>
              <a:buSzPct val="120000"/>
              <a:buFont typeface="Wingdings" pitchFamily="2" charset="2"/>
              <a:buChar char="§"/>
              <a:tabLst/>
              <a:defRPr/>
            </a:pPr>
            <a:r>
              <a:rPr lang="cs-CZ" altLang="cs-CZ" b="0" i="0" dirty="0">
                <a:solidFill>
                  <a:srgbClr val="000000"/>
                </a:solidFill>
              </a:rPr>
              <a:t>důsledné zohlednění </a:t>
            </a:r>
            <a:r>
              <a:rPr lang="cs-CZ" altLang="cs-CZ" i="0" dirty="0">
                <a:solidFill>
                  <a:srgbClr val="000000"/>
                </a:solidFill>
              </a:rPr>
              <a:t>potřeb transformovaných regionů</a:t>
            </a:r>
            <a:endParaRPr kumimoji="0" lang="cs-CZ" altLang="cs-CZ" sz="140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06053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Tl5lxb1thlpf2jFz1QwZw"/>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5.T91nE7oyVkauRtX0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6zcS9S5kJ3msl0O_hOX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1Jw84_u06wp3f.IkCeHQ"/>
</p:tagLst>
</file>

<file path=ppt/theme/theme1.xml><?xml version="1.0" encoding="utf-8"?>
<a:theme xmlns:a="http://schemas.openxmlformats.org/drawingml/2006/main" name="SkupinaCEZ_new2014_CZ">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0">
          <a:noFill/>
          <a:prstDash val="solid"/>
          <a:round/>
          <a:headEnd/>
          <a:tailEnd/>
        </a:ln>
      </a:spPr>
      <a:bodyPr vert="horz" wrap="square" lIns="91440" tIns="45720" rIns="91440" bIns="45720" numCol="1" anchor="t" anchorCtr="0" compatLnSpc="1">
        <a:prstTxWarp prst="textNoShape">
          <a:avLst/>
        </a:prstTxWarp>
      </a:bodyPr>
      <a:lstStyle>
        <a:defPPr>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30606-CEZ-sablona.potx" id="{78C74D98-4713-495F-85E4-8B9DE4BDD0CE}" vid="{DB6A8D8F-D870-4D49-87A7-56A508794BEC}"/>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ČEZ">
    <a:dk1>
      <a:sysClr val="windowText" lastClr="000000"/>
    </a:dk1>
    <a:lt1>
      <a:sysClr val="window" lastClr="FFFFFF"/>
    </a:lt1>
    <a:dk2>
      <a:srgbClr val="44546A"/>
    </a:dk2>
    <a:lt2>
      <a:srgbClr val="E7E6E6"/>
    </a:lt2>
    <a:accent1>
      <a:srgbClr val="F24F00"/>
    </a:accent1>
    <a:accent2>
      <a:srgbClr val="B8B3AD"/>
    </a:accent2>
    <a:accent3>
      <a:srgbClr val="737373"/>
    </a:accent3>
    <a:accent4>
      <a:srgbClr val="FFE947"/>
    </a:accent4>
    <a:accent5>
      <a:srgbClr val="FFCC00"/>
    </a:accent5>
    <a:accent6>
      <a:srgbClr val="FF993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AF9D8DE85FFD547B29889A4E767A0F8" ma:contentTypeVersion="12" ma:contentTypeDescription="Vytvoří nový dokument" ma:contentTypeScope="" ma:versionID="0981ba313e2d48534b4a9db821a1235c">
  <xsd:schema xmlns:xsd="http://www.w3.org/2001/XMLSchema" xmlns:xs="http://www.w3.org/2001/XMLSchema" xmlns:p="http://schemas.microsoft.com/office/2006/metadata/properties" xmlns:ns1="http://schemas.microsoft.com/sharepoint/v3" xmlns:ns3="db5cd69c-c25e-4257-84e1-75576ca55cef" targetNamespace="http://schemas.microsoft.com/office/2006/metadata/properties" ma:root="true" ma:fieldsID="6e55ec2b6e50d28b27758e2fc5047dba" ns1:_="" ns3:_="">
    <xsd:import namespace="http://schemas.microsoft.com/sharepoint/v3"/>
    <xsd:import namespace="db5cd69c-c25e-4257-84e1-75576ca55ce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Vlastnosti zásad jednotného dodržování předpisů" ma:hidden="true" ma:internalName="_ip_UnifiedCompliancePolicyProperties">
      <xsd:simpleType>
        <xsd:restriction base="dms:Note"/>
      </xsd:simpleType>
    </xsd:element>
    <xsd:element name="_ip_UnifiedCompliancePolicyUIAction" ma:index="19" nillable="true" ma:displayName="Akce uživatelského rozhraní zásad jednotného dodržování předpisů"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5cd69c-c25e-4257-84e1-75576ca55c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936D052-279D-4CD9-BAA6-F4E3B01B92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b5cd69c-c25e-4257-84e1-75576ca55c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93BCD86-EF73-4EDE-A8B2-7820F8AC9E37}">
  <ds:schemaRefs>
    <ds:schemaRef ds:uri="http://schemas.microsoft.com/sharepoint/v3/contenttype/forms"/>
  </ds:schemaRefs>
</ds:datastoreItem>
</file>

<file path=customXml/itemProps3.xml><?xml version="1.0" encoding="utf-8"?>
<ds:datastoreItem xmlns:ds="http://schemas.openxmlformats.org/officeDocument/2006/customXml" ds:itemID="{158E5432-B4F9-47C2-9859-E78DBDE4A004}">
  <ds:schemaRefs>
    <ds:schemaRef ds:uri="http://schemas.microsoft.com/office/2006/metadata/properties"/>
    <ds:schemaRef ds:uri="http://purl.org/dc/elements/1.1/"/>
    <ds:schemaRef ds:uri="http://schemas.microsoft.com/sharepoint/v3"/>
    <ds:schemaRef ds:uri="db5cd69c-c25e-4257-84e1-75576ca55cef"/>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kupinaCEZ_new2014_CZ</Template>
  <TotalTime>3238</TotalTime>
  <Words>880</Words>
  <Application>Microsoft Office PowerPoint</Application>
  <PresentationFormat>Předvádění na obrazovce (4:3)</PresentationFormat>
  <Paragraphs>118</Paragraphs>
  <Slides>6</Slides>
  <Notes>3</Notes>
  <HiddenSlides>0</HiddenSlides>
  <MMClips>0</MMClips>
  <ScaleCrop>false</ScaleCrop>
  <HeadingPairs>
    <vt:vector size="8" baseType="variant">
      <vt:variant>
        <vt:lpstr>Použitá písma</vt:lpstr>
      </vt:variant>
      <vt:variant>
        <vt:i4>5</vt:i4>
      </vt:variant>
      <vt:variant>
        <vt:lpstr>Motiv</vt:lpstr>
      </vt:variant>
      <vt:variant>
        <vt:i4>1</vt:i4>
      </vt:variant>
      <vt:variant>
        <vt:lpstr>Vložené servery OLE</vt:lpstr>
      </vt:variant>
      <vt:variant>
        <vt:i4>1</vt:i4>
      </vt:variant>
      <vt:variant>
        <vt:lpstr>Nadpisy snímků</vt:lpstr>
      </vt:variant>
      <vt:variant>
        <vt:i4>6</vt:i4>
      </vt:variant>
    </vt:vector>
  </HeadingPairs>
  <TitlesOfParts>
    <vt:vector size="13" baseType="lpstr">
      <vt:lpstr>Arial</vt:lpstr>
      <vt:lpstr>Arial CE</vt:lpstr>
      <vt:lpstr>Futura CEZ Medium</vt:lpstr>
      <vt:lpstr>Times New Roman</vt:lpstr>
      <vt:lpstr>Wingdings</vt:lpstr>
      <vt:lpstr>SkupinaCEZ_new2014_CZ</vt:lpstr>
      <vt:lpstr>think-cell Slide</vt:lpstr>
      <vt:lpstr>Obnovitelné zdroje energie v ČR příležitosti a výzvy  efektivní financování OZE v ČR </vt:lpstr>
      <vt:lpstr>EU začíná realizovat klimaneutralitu</vt:lpstr>
      <vt:lpstr>Na rozdíl od svých sousedů ČR nedostatečně využívá klíčovou technologii - OZE</vt:lpstr>
      <vt:lpstr>Přitom potenciál tu je….</vt:lpstr>
      <vt:lpstr>A finance taky …</vt:lpstr>
      <vt:lpstr>Jak Nové, Tak i tradiční</vt:lpstr>
    </vt:vector>
  </TitlesOfParts>
  <Company>ČEZ ICT Services, a. 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Strecker Ondřej</dc:creator>
  <cp:keywords>ČEZ</cp:keywords>
  <cp:lastModifiedBy>Jedlička Michal</cp:lastModifiedBy>
  <cp:revision>15</cp:revision>
  <cp:lastPrinted>2014-03-20T09:04:26Z</cp:lastPrinted>
  <dcterms:created xsi:type="dcterms:W3CDTF">2021-02-11T12:05:13Z</dcterms:created>
  <dcterms:modified xsi:type="dcterms:W3CDTF">2021-02-14T16:34:44Z</dcterms:modified>
  <cp:category>šablona</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DocID">
    <vt:lpwstr>PRG-ZPD008-20041008-11373P1C</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0</vt:i4>
  </property>
  <property fmtid="{D5CDD505-2E9C-101B-9397-08002B2CF9AE}" pid="11" name="MSIP_Label_04802d90-fa5d-45d4-90c5-99c9f08cc860_Enabled">
    <vt:lpwstr>true</vt:lpwstr>
  </property>
  <property fmtid="{D5CDD505-2E9C-101B-9397-08002B2CF9AE}" pid="12" name="MSIP_Label_04802d90-fa5d-45d4-90c5-99c9f08cc860_SetDate">
    <vt:lpwstr>2021-02-11T14:16:50Z</vt:lpwstr>
  </property>
  <property fmtid="{D5CDD505-2E9C-101B-9397-08002B2CF9AE}" pid="13" name="MSIP_Label_04802d90-fa5d-45d4-90c5-99c9f08cc860_Method">
    <vt:lpwstr>Privileged</vt:lpwstr>
  </property>
  <property fmtid="{D5CDD505-2E9C-101B-9397-08002B2CF9AE}" pid="14" name="MSIP_Label_04802d90-fa5d-45d4-90c5-99c9f08cc860_Name">
    <vt:lpwstr>L00097</vt:lpwstr>
  </property>
  <property fmtid="{D5CDD505-2E9C-101B-9397-08002B2CF9AE}" pid="15" name="MSIP_Label_04802d90-fa5d-45d4-90c5-99c9f08cc860_SiteId">
    <vt:lpwstr>b233f9e1-5599-4693-9cef-38858fe25406</vt:lpwstr>
  </property>
  <property fmtid="{D5CDD505-2E9C-101B-9397-08002B2CF9AE}" pid="16" name="MSIP_Label_04802d90-fa5d-45d4-90c5-99c9f08cc860_ActionId">
    <vt:lpwstr>f43ab19a-824a-46ce-a8f2-8705cb9763e7</vt:lpwstr>
  </property>
  <property fmtid="{D5CDD505-2E9C-101B-9397-08002B2CF9AE}" pid="17" name="MSIP_Label_04802d90-fa5d-45d4-90c5-99c9f08cc860_ContentBits">
    <vt:lpwstr>0</vt:lpwstr>
  </property>
  <property fmtid="{D5CDD505-2E9C-101B-9397-08002B2CF9AE}" pid="18" name="DocumentClasification">
    <vt:lpwstr>Veřejné</vt:lpwstr>
  </property>
  <property fmtid="{D5CDD505-2E9C-101B-9397-08002B2CF9AE}" pid="19" name="CEZ_DLP">
    <vt:lpwstr>CEZ:CEZ-DOS:D</vt:lpwstr>
  </property>
  <property fmtid="{D5CDD505-2E9C-101B-9397-08002B2CF9AE}" pid="20" name="CEZ_MIPLabelName">
    <vt:lpwstr>Public-CEZ-DOS</vt:lpwstr>
  </property>
  <property fmtid="{D5CDD505-2E9C-101B-9397-08002B2CF9AE}" pid="21" name="ContentTypeId">
    <vt:lpwstr>0x010100FAF9D8DE85FFD547B29889A4E767A0F8</vt:lpwstr>
  </property>
</Properties>
</file>